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3"/>
  </p:notesMasterIdLst>
  <p:handoutMasterIdLst>
    <p:handoutMasterId r:id="rId24"/>
  </p:handoutMasterIdLst>
  <p:sldIdLst>
    <p:sldId id="736" r:id="rId2"/>
    <p:sldId id="737" r:id="rId3"/>
    <p:sldId id="738" r:id="rId4"/>
    <p:sldId id="2147475697" r:id="rId5"/>
    <p:sldId id="739" r:id="rId6"/>
    <p:sldId id="740" r:id="rId7"/>
    <p:sldId id="2147475698" r:id="rId8"/>
    <p:sldId id="743" r:id="rId9"/>
    <p:sldId id="2147475699" r:id="rId10"/>
    <p:sldId id="2147475700" r:id="rId11"/>
    <p:sldId id="2147475693" r:id="rId12"/>
    <p:sldId id="746" r:id="rId13"/>
    <p:sldId id="747" r:id="rId14"/>
    <p:sldId id="748" r:id="rId15"/>
    <p:sldId id="749" r:id="rId16"/>
    <p:sldId id="750" r:id="rId17"/>
    <p:sldId id="751" r:id="rId18"/>
    <p:sldId id="752" r:id="rId19"/>
    <p:sldId id="753" r:id="rId20"/>
    <p:sldId id="754" r:id="rId21"/>
    <p:sldId id="755" r:id="rId22"/>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3">
          <p15:clr>
            <a:srgbClr val="A4A3A4"/>
          </p15:clr>
        </p15:guide>
        <p15:guide id="2" orient="horz" pos="903">
          <p15:clr>
            <a:srgbClr val="A4A3A4"/>
          </p15:clr>
        </p15:guide>
        <p15:guide id="3" orient="horz" pos="3984" userDrawn="1">
          <p15:clr>
            <a:srgbClr val="A4A3A4"/>
          </p15:clr>
        </p15:guide>
        <p15:guide id="4" pos="326">
          <p15:clr>
            <a:srgbClr val="A4A3A4"/>
          </p15:clr>
        </p15:guide>
        <p15:guide id="5" pos="735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BC5"/>
    <a:srgbClr val="006DC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24FF25-1329-6441-EE51-156F5849FC01}" v="203" dt="2024-04-17T21:00:22.9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0931"/>
  </p:normalViewPr>
  <p:slideViewPr>
    <p:cSldViewPr snapToGrid="0" snapToObjects="1">
      <p:cViewPr varScale="1">
        <p:scale>
          <a:sx n="67" d="100"/>
          <a:sy n="67" d="100"/>
        </p:scale>
        <p:origin x="644" y="44"/>
      </p:cViewPr>
      <p:guideLst>
        <p:guide orient="horz" pos="233"/>
        <p:guide orient="horz" pos="903"/>
        <p:guide orient="horz" pos="3984"/>
        <p:guide pos="326"/>
        <p:guide pos="7356"/>
      </p:guideLst>
    </p:cSldViewPr>
  </p:slideViewPr>
  <p:outlineViewPr>
    <p:cViewPr>
      <p:scale>
        <a:sx n="33" d="100"/>
        <a:sy n="33" d="100"/>
      </p:scale>
      <p:origin x="0" y="0"/>
    </p:cViewPr>
  </p:outlineViewPr>
  <p:notesTextViewPr>
    <p:cViewPr>
      <p:scale>
        <a:sx n="1" d="1"/>
        <a:sy n="1" d="1"/>
      </p:scale>
      <p:origin x="0" y="0"/>
    </p:cViewPr>
  </p:notesTextViewPr>
  <p:sorterViewPr>
    <p:cViewPr>
      <p:scale>
        <a:sx n="78" d="100"/>
        <a:sy n="78" d="100"/>
      </p:scale>
      <p:origin x="0" y="0"/>
    </p:cViewPr>
  </p:sorterViewPr>
  <p:notesViewPr>
    <p:cSldViewPr snapToGrid="0" snapToObjects="1" showGuides="1">
      <p:cViewPr varScale="1">
        <p:scale>
          <a:sx n="150" d="100"/>
          <a:sy n="150" d="100"/>
        </p:scale>
        <p:origin x="4272"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a Fitzpatrick" userId="f67fcd58-db0d-4c79-9d49-266c62d97b85" providerId="ADAL" clId="{45B187E1-FD3A-40EA-9EDE-21424689FEEE}"/>
    <pc:docChg chg="delSld modSld">
      <pc:chgData name="Maria Fitzpatrick" userId="f67fcd58-db0d-4c79-9d49-266c62d97b85" providerId="ADAL" clId="{45B187E1-FD3A-40EA-9EDE-21424689FEEE}" dt="2024-04-17T21:20:15.933" v="3" actId="2696"/>
      <pc:docMkLst>
        <pc:docMk/>
      </pc:docMkLst>
      <pc:sldChg chg="modSp mod">
        <pc:chgData name="Maria Fitzpatrick" userId="f67fcd58-db0d-4c79-9d49-266c62d97b85" providerId="ADAL" clId="{45B187E1-FD3A-40EA-9EDE-21424689FEEE}" dt="2024-04-17T21:17:06.194" v="1" actId="20577"/>
        <pc:sldMkLst>
          <pc:docMk/>
          <pc:sldMk cId="2197713988" sldId="748"/>
        </pc:sldMkLst>
        <pc:spChg chg="mod">
          <ac:chgData name="Maria Fitzpatrick" userId="f67fcd58-db0d-4c79-9d49-266c62d97b85" providerId="ADAL" clId="{45B187E1-FD3A-40EA-9EDE-21424689FEEE}" dt="2024-04-17T21:17:06.194" v="1" actId="20577"/>
          <ac:spMkLst>
            <pc:docMk/>
            <pc:sldMk cId="2197713988" sldId="748"/>
            <ac:spMk id="10" creationId="{CD7ED071-AC39-05B7-BCEF-2C66777B66D4}"/>
          </ac:spMkLst>
        </pc:spChg>
      </pc:sldChg>
      <pc:sldChg chg="del">
        <pc:chgData name="Maria Fitzpatrick" userId="f67fcd58-db0d-4c79-9d49-266c62d97b85" providerId="ADAL" clId="{45B187E1-FD3A-40EA-9EDE-21424689FEEE}" dt="2024-04-17T21:20:11.294" v="2" actId="2696"/>
        <pc:sldMkLst>
          <pc:docMk/>
          <pc:sldMk cId="3827237911" sldId="757"/>
        </pc:sldMkLst>
      </pc:sldChg>
      <pc:sldChg chg="del">
        <pc:chgData name="Maria Fitzpatrick" userId="f67fcd58-db0d-4c79-9d49-266c62d97b85" providerId="ADAL" clId="{45B187E1-FD3A-40EA-9EDE-21424689FEEE}" dt="2024-04-17T21:16:02.892" v="0" actId="2696"/>
        <pc:sldMkLst>
          <pc:docMk/>
          <pc:sldMk cId="1614665180" sldId="758"/>
        </pc:sldMkLst>
      </pc:sldChg>
      <pc:sldChg chg="del">
        <pc:chgData name="Maria Fitzpatrick" userId="f67fcd58-db0d-4c79-9d49-266c62d97b85" providerId="ADAL" clId="{45B187E1-FD3A-40EA-9EDE-21424689FEEE}" dt="2024-04-17T21:20:15.933" v="3" actId="2696"/>
        <pc:sldMkLst>
          <pc:docMk/>
          <pc:sldMk cId="1302211591" sldId="214747570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10800000" scaled="1"/>
              <a:tileRect/>
            </a:gradFill>
            <a:ln>
              <a:noFill/>
            </a:ln>
            <a:effectLst/>
          </c:spPr>
          <c:invertIfNegative val="0"/>
          <c:cat>
            <c:strRef>
              <c:f>Sheet1!$A$2:$A$5</c:f>
              <c:strCache>
                <c:ptCount val="3"/>
                <c:pt idx="0">
                  <c:v>Prohibited Practices</c:v>
                </c:pt>
                <c:pt idx="1">
                  <c:v>High Risk AI Systems</c:v>
                </c:pt>
                <c:pt idx="2">
                  <c:v>Other breaches</c:v>
                </c:pt>
              </c:strCache>
            </c:strRef>
          </c:cat>
          <c:val>
            <c:numRef>
              <c:f>Sheet1!$B$2:$B$5</c:f>
              <c:numCache>
                <c:formatCode>_-[$€-2]\ * #,##0.00_-;\-[$€-2]\ * #,##0.00_-;_-[$€-2]\ * "-"??_-;_-@_-</c:formatCode>
                <c:ptCount val="4"/>
                <c:pt idx="0">
                  <c:v>35000000</c:v>
                </c:pt>
                <c:pt idx="1">
                  <c:v>15000000</c:v>
                </c:pt>
                <c:pt idx="2">
                  <c:v>7500000</c:v>
                </c:pt>
              </c:numCache>
            </c:numRef>
          </c:val>
          <c:extLst>
            <c:ext xmlns:c16="http://schemas.microsoft.com/office/drawing/2014/chart" uri="{C3380CC4-5D6E-409C-BE32-E72D297353CC}">
              <c16:uniqueId val="{00000000-BAAA-49FE-989A-0C917A589DFC}"/>
            </c:ext>
          </c:extLst>
        </c:ser>
        <c:dLbls>
          <c:showLegendKey val="0"/>
          <c:showVal val="0"/>
          <c:showCatName val="0"/>
          <c:showSerName val="0"/>
          <c:showPercent val="0"/>
          <c:showBubbleSize val="0"/>
        </c:dLbls>
        <c:gapWidth val="326"/>
        <c:overlap val="-58"/>
        <c:axId val="811735519"/>
        <c:axId val="1624433504"/>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Column1</c:v>
                      </c:pt>
                    </c:strCache>
                  </c:strRef>
                </c:tx>
                <c:spPr>
                  <a:gradFill flip="none" rotWithShape="1">
                    <a:gsLst>
                      <a:gs pos="0">
                        <a:schemeClr val="accent2"/>
                      </a:gs>
                      <a:gs pos="75000">
                        <a:schemeClr val="accent2">
                          <a:lumMod val="60000"/>
                          <a:lumOff val="40000"/>
                        </a:schemeClr>
                      </a:gs>
                      <a:gs pos="51000">
                        <a:schemeClr val="accent2">
                          <a:alpha val="75000"/>
                        </a:schemeClr>
                      </a:gs>
                      <a:gs pos="100000">
                        <a:schemeClr val="accent2">
                          <a:lumMod val="20000"/>
                          <a:lumOff val="80000"/>
                          <a:alpha val="15000"/>
                        </a:schemeClr>
                      </a:gs>
                    </a:gsLst>
                    <a:lin ang="10800000" scaled="1"/>
                    <a:tileRect/>
                  </a:gradFill>
                  <a:ln>
                    <a:noFill/>
                  </a:ln>
                  <a:effectLst/>
                </c:spPr>
                <c:invertIfNegative val="0"/>
                <c:cat>
                  <c:strRef>
                    <c:extLst>
                      <c:ext uri="{02D57815-91ED-43cb-92C2-25804820EDAC}">
                        <c15:formulaRef>
                          <c15:sqref>Sheet1!$A$2:$A$5</c15:sqref>
                        </c15:formulaRef>
                      </c:ext>
                    </c:extLst>
                    <c:strCache>
                      <c:ptCount val="3"/>
                      <c:pt idx="0">
                        <c:v>Prohibited Practices</c:v>
                      </c:pt>
                      <c:pt idx="1">
                        <c:v>High Risk AI Systems</c:v>
                      </c:pt>
                      <c:pt idx="2">
                        <c:v>Other breaches</c:v>
                      </c:pt>
                    </c:strCache>
                  </c:strRef>
                </c:cat>
                <c:val>
                  <c:numRef>
                    <c:extLst>
                      <c:ext uri="{02D57815-91ED-43cb-92C2-25804820EDAC}">
                        <c15:formulaRef>
                          <c15:sqref>Sheet1!$C$2:$C$5</c15:sqref>
                        </c15:formulaRef>
                      </c:ext>
                    </c:extLst>
                    <c:numCache>
                      <c:formatCode>General</c:formatCode>
                      <c:ptCount val="4"/>
                    </c:numCache>
                  </c:numRef>
                </c:val>
                <c:extLst>
                  <c:ext xmlns:c16="http://schemas.microsoft.com/office/drawing/2014/chart" uri="{C3380CC4-5D6E-409C-BE32-E72D297353CC}">
                    <c16:uniqueId val="{00000001-BAAA-49FE-989A-0C917A589DFC}"/>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Column2</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10800000" scaled="1"/>
                    <a:tileRect/>
                  </a:gradFill>
                  <a:ln>
                    <a:noFill/>
                  </a:ln>
                  <a:effectLst/>
                </c:spPr>
                <c:invertIfNegative val="0"/>
                <c:cat>
                  <c:strRef>
                    <c:extLst xmlns:c15="http://schemas.microsoft.com/office/drawing/2012/chart">
                      <c:ext xmlns:c15="http://schemas.microsoft.com/office/drawing/2012/chart" uri="{02D57815-91ED-43cb-92C2-25804820EDAC}">
                        <c15:formulaRef>
                          <c15:sqref>Sheet1!$A$2:$A$5</c15:sqref>
                        </c15:formulaRef>
                      </c:ext>
                    </c:extLst>
                    <c:strCache>
                      <c:ptCount val="3"/>
                      <c:pt idx="0">
                        <c:v>Prohibited Practices</c:v>
                      </c:pt>
                      <c:pt idx="1">
                        <c:v>High Risk AI Systems</c:v>
                      </c:pt>
                      <c:pt idx="2">
                        <c:v>Other breaches</c:v>
                      </c:pt>
                    </c:strCache>
                  </c:strRef>
                </c:cat>
                <c:val>
                  <c:numRef>
                    <c:extLst xmlns:c15="http://schemas.microsoft.com/office/drawing/2012/chart">
                      <c:ext xmlns:c15="http://schemas.microsoft.com/office/drawing/2012/chart" uri="{02D57815-91ED-43cb-92C2-25804820EDAC}">
                        <c15:formulaRef>
                          <c15:sqref>Sheet1!$D$2:$D$5</c15:sqref>
                        </c15:formulaRef>
                      </c:ext>
                    </c:extLst>
                    <c:numCache>
                      <c:formatCode>General</c:formatCode>
                      <c:ptCount val="4"/>
                    </c:numCache>
                  </c:numRef>
                </c:val>
                <c:extLst xmlns:c15="http://schemas.microsoft.com/office/drawing/2012/chart">
                  <c:ext xmlns:c16="http://schemas.microsoft.com/office/drawing/2014/chart" uri="{C3380CC4-5D6E-409C-BE32-E72D297353CC}">
                    <c16:uniqueId val="{00000002-BAAA-49FE-989A-0C917A589DFC}"/>
                  </c:ext>
                </c:extLst>
              </c15:ser>
            </c15:filteredBarSeries>
          </c:ext>
        </c:extLst>
      </c:barChart>
      <c:catAx>
        <c:axId val="811735519"/>
        <c:scaling>
          <c:orientation val="minMax"/>
        </c:scaling>
        <c:delete val="0"/>
        <c:axPos val="l"/>
        <c:numFmt formatCode="General" sourceLinked="1"/>
        <c:majorTickMark val="out"/>
        <c:minorTickMark val="none"/>
        <c:tickLblPos val="nextTo"/>
        <c:spPr>
          <a:noFill/>
          <a:ln w="19050" cap="flat" cmpd="sng" algn="ctr">
            <a:solidFill>
              <a:schemeClr val="tx1">
                <a:lumMod val="15000"/>
                <a:lumOff val="85000"/>
              </a:schemeClr>
            </a:solidFill>
            <a:round/>
            <a:headEnd type="none" w="sm" len="sm"/>
            <a:tailEnd type="none" w="sm" len="sm"/>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24433504"/>
        <c:crosses val="autoZero"/>
        <c:auto val="1"/>
        <c:lblAlgn val="ctr"/>
        <c:lblOffset val="100"/>
        <c:noMultiLvlLbl val="0"/>
      </c:catAx>
      <c:valAx>
        <c:axId val="1624433504"/>
        <c:scaling>
          <c:orientation val="minMax"/>
        </c:scaling>
        <c:delete val="0"/>
        <c:axPos val="b"/>
        <c:majorGridlines>
          <c:spPr>
            <a:ln w="9525" cap="flat" cmpd="sng" algn="ctr">
              <a:gradFill>
                <a:gsLst>
                  <a:gs pos="99000">
                    <a:schemeClr val="tx1">
                      <a:lumMod val="25000"/>
                      <a:lumOff val="75000"/>
                    </a:schemeClr>
                  </a:gs>
                  <a:gs pos="0">
                    <a:schemeClr val="tx1">
                      <a:lumMod val="15000"/>
                      <a:lumOff val="85000"/>
                    </a:schemeClr>
                  </a:gs>
                </a:gsLst>
                <a:lin ang="5400000" scaled="0"/>
              </a:gradFill>
              <a:round/>
            </a:ln>
            <a:effectLst/>
          </c:spPr>
        </c:majorGridlines>
        <c:numFmt formatCode="_-[$€-2]\ * #,##0.00_-;\-[$€-2]\ * #,##0.00_-;_-[$€-2]\ *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1735519"/>
        <c:crosses val="autoZero"/>
        <c:crossBetween val="between"/>
        <c:dispUnits>
          <c:builtInUnit val="millions"/>
          <c:dispUnitsLbl>
            <c:spPr>
              <a:noFill/>
              <a:ln>
                <a:noFill/>
              </a:ln>
              <a:effectLst/>
            </c:spPr>
            <c:txPr>
              <a:bodyPr rot="0" spcFirstLastPara="1" vertOverflow="ellipsis" vert="horz" wrap="square" anchor="ctr" anchorCtr="1"/>
              <a:lstStyle/>
              <a:p>
                <a:pPr>
                  <a:defRPr sz="1197" b="0" i="0" u="none" strike="noStrike" kern="1200" cap="all"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3">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9050" cap="flat" cmpd="sng" algn="ctr">
        <a:solidFill>
          <a:schemeClr val="tx1">
            <a:lumMod val="15000"/>
            <a:lumOff val="8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99000">
              <a:schemeClr val="tx1">
                <a:lumMod val="25000"/>
                <a:lumOff val="75000"/>
              </a:schemeClr>
            </a:gs>
            <a:gs pos="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15000"/>
                <a:lumOff val="85000"/>
              </a:schemeClr>
            </a:gs>
            <a:gs pos="0">
              <a:schemeClr val="tx1">
                <a:lumMod val="5000"/>
                <a:lumOff val="9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3C592F-BD14-4286-88AC-E022315ADAEA}"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GB"/>
        </a:p>
      </dgm:t>
    </dgm:pt>
    <dgm:pt modelId="{692DE533-3B91-49FC-B1E0-0D3DD3BD00D0}">
      <dgm:prSet phldrT="[Text]" phldr="0"/>
      <dgm:spPr/>
      <dgm:t>
        <a:bodyPr/>
        <a:lstStyle/>
        <a:p>
          <a:pPr rtl="0"/>
          <a:r>
            <a:rPr lang="en-GB">
              <a:solidFill>
                <a:schemeClr val="tx1"/>
              </a:solidFill>
              <a:latin typeface="Arial" panose="020B0604020202020204"/>
            </a:rPr>
            <a:t>'De-centralised' approach</a:t>
          </a:r>
          <a:endParaRPr lang="en-GB">
            <a:solidFill>
              <a:schemeClr val="tx1"/>
            </a:solidFill>
          </a:endParaRPr>
        </a:p>
      </dgm:t>
    </dgm:pt>
    <dgm:pt modelId="{9691DAE9-FBB9-44EB-A0ED-CB77345EBE1D}" type="parTrans" cxnId="{ABFC9521-BD8B-4DC1-9311-75F9443FA17E}">
      <dgm:prSet/>
      <dgm:spPr/>
      <dgm:t>
        <a:bodyPr/>
        <a:lstStyle/>
        <a:p>
          <a:endParaRPr lang="en-GB"/>
        </a:p>
      </dgm:t>
    </dgm:pt>
    <dgm:pt modelId="{871017A4-7F0D-4478-B739-2690220DDEAB}" type="sibTrans" cxnId="{ABFC9521-BD8B-4DC1-9311-75F9443FA17E}">
      <dgm:prSet/>
      <dgm:spPr/>
      <dgm:t>
        <a:bodyPr/>
        <a:lstStyle/>
        <a:p>
          <a:endParaRPr lang="en-GB"/>
        </a:p>
      </dgm:t>
    </dgm:pt>
    <dgm:pt modelId="{70C964E4-A4AB-46B7-97E3-DA8954B958AD}">
      <dgm:prSet phldrT="[Text]" phldr="0"/>
      <dgm:spPr/>
      <dgm:t>
        <a:bodyPr/>
        <a:lstStyle/>
        <a:p>
          <a:pPr rtl="0"/>
          <a:r>
            <a:rPr lang="en-GB">
              <a:latin typeface="Arial" panose="020B0604020202020204"/>
            </a:rPr>
            <a:t>Regulator led (e.g., FCA; ICO)</a:t>
          </a:r>
          <a:endParaRPr lang="en-GB"/>
        </a:p>
      </dgm:t>
    </dgm:pt>
    <dgm:pt modelId="{3862159B-0099-42AE-B148-7EB39619A7F5}" type="parTrans" cxnId="{94828039-CF8D-4AEA-B9FE-7B36548FCAE5}">
      <dgm:prSet/>
      <dgm:spPr/>
      <dgm:t>
        <a:bodyPr/>
        <a:lstStyle/>
        <a:p>
          <a:endParaRPr lang="en-GB"/>
        </a:p>
      </dgm:t>
    </dgm:pt>
    <dgm:pt modelId="{4D09233F-FA41-4411-A945-E646123D6997}" type="sibTrans" cxnId="{94828039-CF8D-4AEA-B9FE-7B36548FCAE5}">
      <dgm:prSet/>
      <dgm:spPr/>
      <dgm:t>
        <a:bodyPr/>
        <a:lstStyle/>
        <a:p>
          <a:endParaRPr lang="en-GB"/>
        </a:p>
      </dgm:t>
    </dgm:pt>
    <dgm:pt modelId="{23E6072B-0851-437E-B240-BD7A51B09695}">
      <dgm:prSet phldrT="[Text]" phldr="0"/>
      <dgm:spPr/>
      <dgm:t>
        <a:bodyPr/>
        <a:lstStyle/>
        <a:p>
          <a:pPr rtl="0"/>
          <a:r>
            <a:rPr lang="en-GB">
              <a:latin typeface="Arial" panose="020B0604020202020204"/>
            </a:rPr>
            <a:t>Regulators enforce common principles for responsible AI</a:t>
          </a:r>
          <a:endParaRPr lang="en-GB"/>
        </a:p>
      </dgm:t>
    </dgm:pt>
    <dgm:pt modelId="{F963CBC1-91AF-409C-81D0-8FDE3177D5E6}" type="parTrans" cxnId="{1533C540-B240-45D1-8D6E-879BB8CF6AA7}">
      <dgm:prSet/>
      <dgm:spPr/>
      <dgm:t>
        <a:bodyPr/>
        <a:lstStyle/>
        <a:p>
          <a:endParaRPr lang="en-GB"/>
        </a:p>
      </dgm:t>
    </dgm:pt>
    <dgm:pt modelId="{20D63E08-F39D-4FFC-95F2-C3E6EF75023D}" type="sibTrans" cxnId="{1533C540-B240-45D1-8D6E-879BB8CF6AA7}">
      <dgm:prSet/>
      <dgm:spPr/>
      <dgm:t>
        <a:bodyPr/>
        <a:lstStyle/>
        <a:p>
          <a:endParaRPr lang="en-GB"/>
        </a:p>
      </dgm:t>
    </dgm:pt>
    <dgm:pt modelId="{A07AC264-0A16-4882-9B2E-0EC88A77F274}">
      <dgm:prSet phldrT="[Text]" phldr="0"/>
      <dgm:spPr/>
      <dgm:t>
        <a:bodyPr/>
        <a:lstStyle/>
        <a:p>
          <a:pPr rtl="0"/>
          <a:r>
            <a:rPr lang="en-GB">
              <a:latin typeface="Arial" panose="020B0604020202020204"/>
            </a:rPr>
            <a:t>Emphasis on international standards</a:t>
          </a:r>
          <a:endParaRPr lang="en-GB"/>
        </a:p>
      </dgm:t>
    </dgm:pt>
    <dgm:pt modelId="{49E4ADA8-5A91-4973-AB9B-06554E0AB66D}" type="parTrans" cxnId="{9DE55C44-CB1A-48E9-B122-23EC33AFA04C}">
      <dgm:prSet/>
      <dgm:spPr/>
      <dgm:t>
        <a:bodyPr/>
        <a:lstStyle/>
        <a:p>
          <a:endParaRPr lang="en-GB"/>
        </a:p>
      </dgm:t>
    </dgm:pt>
    <dgm:pt modelId="{A9D0C145-73FE-42A1-A028-FE341D9D2887}" type="sibTrans" cxnId="{9DE55C44-CB1A-48E9-B122-23EC33AFA04C}">
      <dgm:prSet/>
      <dgm:spPr/>
      <dgm:t>
        <a:bodyPr/>
        <a:lstStyle/>
        <a:p>
          <a:endParaRPr lang="en-GB"/>
        </a:p>
      </dgm:t>
    </dgm:pt>
    <dgm:pt modelId="{9C73928D-82F6-4511-879B-871F1016A763}">
      <dgm:prSet phldrT="[Text]" phldr="0"/>
      <dgm:spPr/>
      <dgm:t>
        <a:bodyPr/>
        <a:lstStyle/>
        <a:p>
          <a:pPr rtl="0"/>
          <a:r>
            <a:rPr lang="en-GB"/>
            <a:t>UK policy agenda – AI summit; global watchdog??</a:t>
          </a:r>
        </a:p>
      </dgm:t>
    </dgm:pt>
    <dgm:pt modelId="{6BFA4229-0A13-4BCF-9D15-C0D7D423176D}" type="parTrans" cxnId="{E826E511-B07C-4C57-99C9-E3FF2B460601}">
      <dgm:prSet/>
      <dgm:spPr/>
      <dgm:t>
        <a:bodyPr/>
        <a:lstStyle/>
        <a:p>
          <a:endParaRPr lang="en-GB"/>
        </a:p>
      </dgm:t>
    </dgm:pt>
    <dgm:pt modelId="{7C5FD101-856F-4E0B-A66E-E3E5811D9FD9}" type="sibTrans" cxnId="{E826E511-B07C-4C57-99C9-E3FF2B460601}">
      <dgm:prSet/>
      <dgm:spPr/>
      <dgm:t>
        <a:bodyPr/>
        <a:lstStyle/>
        <a:p>
          <a:endParaRPr lang="en-GB"/>
        </a:p>
      </dgm:t>
    </dgm:pt>
    <dgm:pt modelId="{BD65285B-17FB-43AC-B6F4-5B580B8CE515}" type="pres">
      <dgm:prSet presAssocID="{823C592F-BD14-4286-88AC-E022315ADAEA}" presName="diagram" presStyleCnt="0">
        <dgm:presLayoutVars>
          <dgm:dir/>
          <dgm:resizeHandles val="exact"/>
        </dgm:presLayoutVars>
      </dgm:prSet>
      <dgm:spPr/>
    </dgm:pt>
    <dgm:pt modelId="{026DB6F8-4847-473F-8310-8B9ABBAC726A}" type="pres">
      <dgm:prSet presAssocID="{692DE533-3B91-49FC-B1E0-0D3DD3BD00D0}" presName="node" presStyleLbl="node1" presStyleIdx="0" presStyleCnt="5">
        <dgm:presLayoutVars>
          <dgm:bulletEnabled val="1"/>
        </dgm:presLayoutVars>
      </dgm:prSet>
      <dgm:spPr/>
    </dgm:pt>
    <dgm:pt modelId="{8249E28D-3CAE-4910-AA1B-C67D80A74163}" type="pres">
      <dgm:prSet presAssocID="{871017A4-7F0D-4478-B739-2690220DDEAB}" presName="sibTrans" presStyleCnt="0"/>
      <dgm:spPr/>
    </dgm:pt>
    <dgm:pt modelId="{F505CE69-1A02-4439-AE54-32D69C7B8621}" type="pres">
      <dgm:prSet presAssocID="{70C964E4-A4AB-46B7-97E3-DA8954B958AD}" presName="node" presStyleLbl="node1" presStyleIdx="1" presStyleCnt="5">
        <dgm:presLayoutVars>
          <dgm:bulletEnabled val="1"/>
        </dgm:presLayoutVars>
      </dgm:prSet>
      <dgm:spPr/>
    </dgm:pt>
    <dgm:pt modelId="{748DA7F5-EDB0-41DC-9E63-E0A8BF06E0AE}" type="pres">
      <dgm:prSet presAssocID="{4D09233F-FA41-4411-A945-E646123D6997}" presName="sibTrans" presStyleCnt="0"/>
      <dgm:spPr/>
    </dgm:pt>
    <dgm:pt modelId="{E801974B-3297-4D64-B940-1A510BF9543D}" type="pres">
      <dgm:prSet presAssocID="{23E6072B-0851-437E-B240-BD7A51B09695}" presName="node" presStyleLbl="node1" presStyleIdx="2" presStyleCnt="5">
        <dgm:presLayoutVars>
          <dgm:bulletEnabled val="1"/>
        </dgm:presLayoutVars>
      </dgm:prSet>
      <dgm:spPr/>
    </dgm:pt>
    <dgm:pt modelId="{B07EB107-52CA-4455-9A33-C68B3E8FB740}" type="pres">
      <dgm:prSet presAssocID="{20D63E08-F39D-4FFC-95F2-C3E6EF75023D}" presName="sibTrans" presStyleCnt="0"/>
      <dgm:spPr/>
    </dgm:pt>
    <dgm:pt modelId="{52355BCA-592B-49A8-B6F5-D8CC18F7DB2E}" type="pres">
      <dgm:prSet presAssocID="{A07AC264-0A16-4882-9B2E-0EC88A77F274}" presName="node" presStyleLbl="node1" presStyleIdx="3" presStyleCnt="5">
        <dgm:presLayoutVars>
          <dgm:bulletEnabled val="1"/>
        </dgm:presLayoutVars>
      </dgm:prSet>
      <dgm:spPr/>
    </dgm:pt>
    <dgm:pt modelId="{51CF6C65-8136-43D7-9377-CA11B678C24B}" type="pres">
      <dgm:prSet presAssocID="{A9D0C145-73FE-42A1-A028-FE341D9D2887}" presName="sibTrans" presStyleCnt="0"/>
      <dgm:spPr/>
    </dgm:pt>
    <dgm:pt modelId="{04DAF075-7E6E-4651-8F11-F87AD4F5EB53}" type="pres">
      <dgm:prSet presAssocID="{9C73928D-82F6-4511-879B-871F1016A763}" presName="node" presStyleLbl="node1" presStyleIdx="4" presStyleCnt="5">
        <dgm:presLayoutVars>
          <dgm:bulletEnabled val="1"/>
        </dgm:presLayoutVars>
      </dgm:prSet>
      <dgm:spPr/>
    </dgm:pt>
  </dgm:ptLst>
  <dgm:cxnLst>
    <dgm:cxn modelId="{E826E511-B07C-4C57-99C9-E3FF2B460601}" srcId="{823C592F-BD14-4286-88AC-E022315ADAEA}" destId="{9C73928D-82F6-4511-879B-871F1016A763}" srcOrd="4" destOrd="0" parTransId="{6BFA4229-0A13-4BCF-9D15-C0D7D423176D}" sibTransId="{7C5FD101-856F-4E0B-A66E-E3E5811D9FD9}"/>
    <dgm:cxn modelId="{E141301B-19DD-4ECF-B9DE-820E9469C10A}" type="presOf" srcId="{9C73928D-82F6-4511-879B-871F1016A763}" destId="{04DAF075-7E6E-4651-8F11-F87AD4F5EB53}" srcOrd="0" destOrd="0" presId="urn:microsoft.com/office/officeart/2005/8/layout/default"/>
    <dgm:cxn modelId="{ABFC9521-BD8B-4DC1-9311-75F9443FA17E}" srcId="{823C592F-BD14-4286-88AC-E022315ADAEA}" destId="{692DE533-3B91-49FC-B1E0-0D3DD3BD00D0}" srcOrd="0" destOrd="0" parTransId="{9691DAE9-FBB9-44EB-A0ED-CB77345EBE1D}" sibTransId="{871017A4-7F0D-4478-B739-2690220DDEAB}"/>
    <dgm:cxn modelId="{A0D2DE22-D46E-47F6-BA43-133C4207E343}" type="presOf" srcId="{23E6072B-0851-437E-B240-BD7A51B09695}" destId="{E801974B-3297-4D64-B940-1A510BF9543D}" srcOrd="0" destOrd="0" presId="urn:microsoft.com/office/officeart/2005/8/layout/default"/>
    <dgm:cxn modelId="{94828039-CF8D-4AEA-B9FE-7B36548FCAE5}" srcId="{823C592F-BD14-4286-88AC-E022315ADAEA}" destId="{70C964E4-A4AB-46B7-97E3-DA8954B958AD}" srcOrd="1" destOrd="0" parTransId="{3862159B-0099-42AE-B148-7EB39619A7F5}" sibTransId="{4D09233F-FA41-4411-A945-E646123D6997}"/>
    <dgm:cxn modelId="{DAC4BF39-DC89-4906-9EC5-66AD569DACE6}" type="presOf" srcId="{A07AC264-0A16-4882-9B2E-0EC88A77F274}" destId="{52355BCA-592B-49A8-B6F5-D8CC18F7DB2E}" srcOrd="0" destOrd="0" presId="urn:microsoft.com/office/officeart/2005/8/layout/default"/>
    <dgm:cxn modelId="{1533C540-B240-45D1-8D6E-879BB8CF6AA7}" srcId="{823C592F-BD14-4286-88AC-E022315ADAEA}" destId="{23E6072B-0851-437E-B240-BD7A51B09695}" srcOrd="2" destOrd="0" parTransId="{F963CBC1-91AF-409C-81D0-8FDE3177D5E6}" sibTransId="{20D63E08-F39D-4FFC-95F2-C3E6EF75023D}"/>
    <dgm:cxn modelId="{9DE55C44-CB1A-48E9-B122-23EC33AFA04C}" srcId="{823C592F-BD14-4286-88AC-E022315ADAEA}" destId="{A07AC264-0A16-4882-9B2E-0EC88A77F274}" srcOrd="3" destOrd="0" parTransId="{49E4ADA8-5A91-4973-AB9B-06554E0AB66D}" sibTransId="{A9D0C145-73FE-42A1-A028-FE341D9D2887}"/>
    <dgm:cxn modelId="{10BF1B51-A6FA-43F5-B961-2D8F886124B8}" type="presOf" srcId="{823C592F-BD14-4286-88AC-E022315ADAEA}" destId="{BD65285B-17FB-43AC-B6F4-5B580B8CE515}" srcOrd="0" destOrd="0" presId="urn:microsoft.com/office/officeart/2005/8/layout/default"/>
    <dgm:cxn modelId="{DAFFDCC2-05FD-4174-A0A5-80CDB7499F0F}" type="presOf" srcId="{692DE533-3B91-49FC-B1E0-0D3DD3BD00D0}" destId="{026DB6F8-4847-473F-8310-8B9ABBAC726A}" srcOrd="0" destOrd="0" presId="urn:microsoft.com/office/officeart/2005/8/layout/default"/>
    <dgm:cxn modelId="{3177D8EA-B6E8-4149-B0AF-5B0517DBF04E}" type="presOf" srcId="{70C964E4-A4AB-46B7-97E3-DA8954B958AD}" destId="{F505CE69-1A02-4439-AE54-32D69C7B8621}" srcOrd="0" destOrd="0" presId="urn:microsoft.com/office/officeart/2005/8/layout/default"/>
    <dgm:cxn modelId="{27AA29E4-D6A9-47F0-BAF4-3B179954AAC1}" type="presParOf" srcId="{BD65285B-17FB-43AC-B6F4-5B580B8CE515}" destId="{026DB6F8-4847-473F-8310-8B9ABBAC726A}" srcOrd="0" destOrd="0" presId="urn:microsoft.com/office/officeart/2005/8/layout/default"/>
    <dgm:cxn modelId="{A9A49151-B1B0-45D8-A2E3-4F959D856CF7}" type="presParOf" srcId="{BD65285B-17FB-43AC-B6F4-5B580B8CE515}" destId="{8249E28D-3CAE-4910-AA1B-C67D80A74163}" srcOrd="1" destOrd="0" presId="urn:microsoft.com/office/officeart/2005/8/layout/default"/>
    <dgm:cxn modelId="{D536A0DB-0CE5-4F0B-B719-367E6533699D}" type="presParOf" srcId="{BD65285B-17FB-43AC-B6F4-5B580B8CE515}" destId="{F505CE69-1A02-4439-AE54-32D69C7B8621}" srcOrd="2" destOrd="0" presId="urn:microsoft.com/office/officeart/2005/8/layout/default"/>
    <dgm:cxn modelId="{EC971610-F299-4EB3-82B2-432ED7A69075}" type="presParOf" srcId="{BD65285B-17FB-43AC-B6F4-5B580B8CE515}" destId="{748DA7F5-EDB0-41DC-9E63-E0A8BF06E0AE}" srcOrd="3" destOrd="0" presId="urn:microsoft.com/office/officeart/2005/8/layout/default"/>
    <dgm:cxn modelId="{7C5E905F-2EAF-408D-98DD-5752695AF777}" type="presParOf" srcId="{BD65285B-17FB-43AC-B6F4-5B580B8CE515}" destId="{E801974B-3297-4D64-B940-1A510BF9543D}" srcOrd="4" destOrd="0" presId="urn:microsoft.com/office/officeart/2005/8/layout/default"/>
    <dgm:cxn modelId="{BDDCC621-1278-4F49-8C20-772CC590666E}" type="presParOf" srcId="{BD65285B-17FB-43AC-B6F4-5B580B8CE515}" destId="{B07EB107-52CA-4455-9A33-C68B3E8FB740}" srcOrd="5" destOrd="0" presId="urn:microsoft.com/office/officeart/2005/8/layout/default"/>
    <dgm:cxn modelId="{2A3E4D31-2211-4A39-8D76-389D411D2881}" type="presParOf" srcId="{BD65285B-17FB-43AC-B6F4-5B580B8CE515}" destId="{52355BCA-592B-49A8-B6F5-D8CC18F7DB2E}" srcOrd="6" destOrd="0" presId="urn:microsoft.com/office/officeart/2005/8/layout/default"/>
    <dgm:cxn modelId="{847DB4CB-67AD-4777-9B8A-3EEF8C976B09}" type="presParOf" srcId="{BD65285B-17FB-43AC-B6F4-5B580B8CE515}" destId="{51CF6C65-8136-43D7-9377-CA11B678C24B}" srcOrd="7" destOrd="0" presId="urn:microsoft.com/office/officeart/2005/8/layout/default"/>
    <dgm:cxn modelId="{FAFF18B6-F96B-433B-80CD-DF7B3578AE88}" type="presParOf" srcId="{BD65285B-17FB-43AC-B6F4-5B580B8CE515}" destId="{04DAF075-7E6E-4651-8F11-F87AD4F5EB53}"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51B792-E6B2-4281-9103-9DE2109FE0B4}" type="doc">
      <dgm:prSet loTypeId="urn:microsoft.com/office/officeart/2005/8/layout/vList6" loCatId="list" qsTypeId="urn:microsoft.com/office/officeart/2005/8/quickstyle/simple1" qsCatId="simple" csTypeId="urn:microsoft.com/office/officeart/2005/8/colors/colorful3" csCatId="colorful" phldr="1"/>
      <dgm:spPr/>
      <dgm:t>
        <a:bodyPr/>
        <a:lstStyle/>
        <a:p>
          <a:endParaRPr lang="en-US"/>
        </a:p>
      </dgm:t>
    </dgm:pt>
    <dgm:pt modelId="{B2B39573-C040-449C-A5C2-0DCE0B1BACD6}">
      <dgm:prSet custT="1"/>
      <dgm:spPr/>
      <dgm:t>
        <a:bodyPr/>
        <a:lstStyle/>
        <a:p>
          <a:pPr algn="l"/>
          <a:r>
            <a:rPr lang="en-US" sz="1600" err="1">
              <a:solidFill>
                <a:schemeClr val="tx1"/>
              </a:solidFill>
            </a:rPr>
            <a:t>ChatGPT’s</a:t>
          </a:r>
          <a:r>
            <a:rPr lang="en-US" sz="1600">
              <a:solidFill>
                <a:schemeClr val="tx1"/>
              </a:solidFill>
            </a:rPr>
            <a:t> impact on the general public coupled with warnings of </a:t>
          </a:r>
          <a:r>
            <a:rPr lang="en-US" sz="1600" u="sng">
              <a:solidFill>
                <a:schemeClr val="tx1"/>
              </a:solidFill>
            </a:rPr>
            <a:t>“existential risk” </a:t>
          </a:r>
          <a:r>
            <a:rPr lang="en-US" sz="1600">
              <a:solidFill>
                <a:schemeClr val="tx1"/>
              </a:solidFill>
            </a:rPr>
            <a:t>by leading academics and industry leaders have prompted global urgency to regulate.   </a:t>
          </a:r>
        </a:p>
      </dgm:t>
    </dgm:pt>
    <dgm:pt modelId="{7761B1BF-54EE-409C-BEBC-EA46E17C1134}" type="parTrans" cxnId="{69067FA3-7920-4E75-943F-D9462AD573AD}">
      <dgm:prSet/>
      <dgm:spPr/>
      <dgm:t>
        <a:bodyPr/>
        <a:lstStyle/>
        <a:p>
          <a:pPr algn="l"/>
          <a:endParaRPr lang="en-US" sz="1800"/>
        </a:p>
      </dgm:t>
    </dgm:pt>
    <dgm:pt modelId="{75BCB0DE-1C50-4450-891E-C0775B295EA2}" type="sibTrans" cxnId="{69067FA3-7920-4E75-943F-D9462AD573AD}">
      <dgm:prSet/>
      <dgm:spPr/>
      <dgm:t>
        <a:bodyPr/>
        <a:lstStyle/>
        <a:p>
          <a:pPr algn="l"/>
          <a:endParaRPr lang="en-US" sz="1800"/>
        </a:p>
      </dgm:t>
    </dgm:pt>
    <dgm:pt modelId="{F3B24464-9494-49FD-86D5-A1A0F2339F8F}">
      <dgm:prSet custT="1"/>
      <dgm:spPr/>
      <dgm:t>
        <a:bodyPr/>
        <a:lstStyle/>
        <a:p>
          <a:pPr algn="l"/>
          <a:r>
            <a:rPr lang="en-US" sz="1600"/>
            <a:t>In Washington DC, </a:t>
          </a:r>
          <a:r>
            <a:rPr lang="en-US" sz="1600" u="sng"/>
            <a:t>Senate Majority Leader Chuck Schumer </a:t>
          </a:r>
          <a:r>
            <a:rPr lang="en-US" sz="1600"/>
            <a:t>in April announced a framework for regulating artificial intelligence and has called for “comprehensive bipartisan legislation.”  </a:t>
          </a:r>
        </a:p>
      </dgm:t>
    </dgm:pt>
    <dgm:pt modelId="{E90EB55E-E032-4334-9012-591973EF99E8}" type="parTrans" cxnId="{EDCAAF45-E3C7-498A-9F96-265EEF5D0D8A}">
      <dgm:prSet/>
      <dgm:spPr/>
      <dgm:t>
        <a:bodyPr/>
        <a:lstStyle/>
        <a:p>
          <a:pPr algn="l"/>
          <a:endParaRPr lang="en-US" sz="1800"/>
        </a:p>
      </dgm:t>
    </dgm:pt>
    <dgm:pt modelId="{7B963465-C796-435B-9655-A61805DCEDEB}" type="sibTrans" cxnId="{EDCAAF45-E3C7-498A-9F96-265EEF5D0D8A}">
      <dgm:prSet/>
      <dgm:spPr/>
      <dgm:t>
        <a:bodyPr/>
        <a:lstStyle/>
        <a:p>
          <a:pPr algn="l"/>
          <a:endParaRPr lang="en-US" sz="1800"/>
        </a:p>
      </dgm:t>
    </dgm:pt>
    <dgm:pt modelId="{6F2B065F-940A-48C3-B90D-7254A7BA9380}">
      <dgm:prSet custT="1"/>
      <dgm:spPr/>
      <dgm:t>
        <a:bodyPr/>
        <a:lstStyle/>
        <a:p>
          <a:pPr algn="l"/>
          <a:r>
            <a:rPr lang="en-US" sz="1600"/>
            <a:t>Similar to the EU’s data privacy law (GDPR) that serves as the de-facto global privacy regulatory standard, the </a:t>
          </a:r>
          <a:r>
            <a:rPr lang="en-US" sz="1600" u="sng"/>
            <a:t>EU’s AI Act </a:t>
          </a:r>
          <a:r>
            <a:rPr lang="en-US" sz="1600"/>
            <a:t>signals hard law AI regulation on the horizon, possibly by the end of the calendar year.  </a:t>
          </a:r>
        </a:p>
      </dgm:t>
    </dgm:pt>
    <dgm:pt modelId="{EF0D34E0-8772-41FB-95B6-8D95121B4E37}" type="parTrans" cxnId="{D78E0B56-0ADA-425D-88A5-4B18440F8F41}">
      <dgm:prSet/>
      <dgm:spPr/>
      <dgm:t>
        <a:bodyPr/>
        <a:lstStyle/>
        <a:p>
          <a:pPr algn="l"/>
          <a:endParaRPr lang="en-US" sz="1800"/>
        </a:p>
      </dgm:t>
    </dgm:pt>
    <dgm:pt modelId="{11CF7FEE-8158-43C1-A477-8E78BAD47D28}" type="sibTrans" cxnId="{D78E0B56-0ADA-425D-88A5-4B18440F8F41}">
      <dgm:prSet/>
      <dgm:spPr/>
      <dgm:t>
        <a:bodyPr/>
        <a:lstStyle/>
        <a:p>
          <a:pPr algn="l"/>
          <a:endParaRPr lang="en-US" sz="1800"/>
        </a:p>
      </dgm:t>
    </dgm:pt>
    <dgm:pt modelId="{D3EEF4C8-7767-4BB6-A463-3CE451AB8FBB}">
      <dgm:prSet custT="1"/>
      <dgm:spPr/>
      <dgm:t>
        <a:bodyPr/>
        <a:lstStyle/>
        <a:p>
          <a:pPr algn="l"/>
          <a:r>
            <a:rPr lang="en-US" sz="1600"/>
            <a:t>The </a:t>
          </a:r>
          <a:r>
            <a:rPr lang="en-US" sz="1600" u="sng"/>
            <a:t>Biden Administration</a:t>
          </a:r>
          <a:r>
            <a:rPr lang="en-US" sz="1600" u="none"/>
            <a:t> hosted an </a:t>
          </a:r>
          <a:r>
            <a:rPr lang="en-US" sz="1600"/>
            <a:t>AI Summit with generative AI tech leaders in May indicating White House recognition of the urgency to act on AI.    </a:t>
          </a:r>
        </a:p>
      </dgm:t>
    </dgm:pt>
    <dgm:pt modelId="{1816D00D-0A4F-40A0-BBF2-8D058BF11239}" type="parTrans" cxnId="{0E2D819A-B2E2-496C-9C7E-EB56A618FD6B}">
      <dgm:prSet/>
      <dgm:spPr/>
      <dgm:t>
        <a:bodyPr/>
        <a:lstStyle/>
        <a:p>
          <a:pPr algn="l"/>
          <a:endParaRPr lang="en-US" sz="1800"/>
        </a:p>
      </dgm:t>
    </dgm:pt>
    <dgm:pt modelId="{7C24DB26-3CEC-43DF-8CC6-5716AE4E4EB9}" type="sibTrans" cxnId="{0E2D819A-B2E2-496C-9C7E-EB56A618FD6B}">
      <dgm:prSet/>
      <dgm:spPr/>
      <dgm:t>
        <a:bodyPr/>
        <a:lstStyle/>
        <a:p>
          <a:pPr algn="l"/>
          <a:endParaRPr lang="en-US" sz="1800"/>
        </a:p>
      </dgm:t>
    </dgm:pt>
    <dgm:pt modelId="{FE559E5A-799C-4A93-8AC7-14567BE073C9}">
      <dgm:prSet custT="1"/>
      <dgm:spPr/>
      <dgm:t>
        <a:bodyPr/>
        <a:lstStyle/>
        <a:p>
          <a:pPr algn="l"/>
          <a:r>
            <a:rPr lang="en-US" sz="1600" u="sng"/>
            <a:t>Common themes </a:t>
          </a:r>
          <a:r>
            <a:rPr lang="en-US" sz="1600"/>
            <a:t>for emerging regulatory requirements of AI systems: Transparency and </a:t>
          </a:r>
          <a:r>
            <a:rPr lang="en-US" sz="1600" err="1"/>
            <a:t>Explainability</a:t>
          </a:r>
          <a:r>
            <a:rPr lang="en-US" sz="1600"/>
            <a:t>, Accuracy, Robustness and security, Accountability, Human values and fairness</a:t>
          </a:r>
        </a:p>
      </dgm:t>
    </dgm:pt>
    <dgm:pt modelId="{3540CD71-4A0F-41F4-A4C2-0C0A239D00FC}" type="parTrans" cxnId="{16506A1B-890E-4BF6-9D0C-AF87257BE43C}">
      <dgm:prSet/>
      <dgm:spPr/>
      <dgm:t>
        <a:bodyPr/>
        <a:lstStyle/>
        <a:p>
          <a:pPr algn="l"/>
          <a:endParaRPr lang="en-US" sz="1800"/>
        </a:p>
      </dgm:t>
    </dgm:pt>
    <dgm:pt modelId="{D9E3CC07-2F82-4C46-B670-0D8ECF444397}" type="sibTrans" cxnId="{16506A1B-890E-4BF6-9D0C-AF87257BE43C}">
      <dgm:prSet/>
      <dgm:spPr/>
      <dgm:t>
        <a:bodyPr/>
        <a:lstStyle/>
        <a:p>
          <a:pPr algn="l"/>
          <a:endParaRPr lang="en-US" sz="1800"/>
        </a:p>
      </dgm:t>
    </dgm:pt>
    <dgm:pt modelId="{B50538DE-B343-4478-80D4-2FC6354DF777}" type="pres">
      <dgm:prSet presAssocID="{C651B792-E6B2-4281-9103-9DE2109FE0B4}" presName="Name0" presStyleCnt="0">
        <dgm:presLayoutVars>
          <dgm:dir/>
          <dgm:animLvl val="lvl"/>
          <dgm:resizeHandles/>
        </dgm:presLayoutVars>
      </dgm:prSet>
      <dgm:spPr/>
    </dgm:pt>
    <dgm:pt modelId="{175E8517-F10E-4332-8DEB-BF3BCD428CC4}" type="pres">
      <dgm:prSet presAssocID="{B2B39573-C040-449C-A5C2-0DCE0B1BACD6}" presName="linNode" presStyleCnt="0"/>
      <dgm:spPr/>
    </dgm:pt>
    <dgm:pt modelId="{AAC390FA-9A25-4433-B2F0-7D753C553128}" type="pres">
      <dgm:prSet presAssocID="{B2B39573-C040-449C-A5C2-0DCE0B1BACD6}" presName="parentShp" presStyleLbl="node1" presStyleIdx="0" presStyleCnt="5" custScaleX="404236">
        <dgm:presLayoutVars>
          <dgm:bulletEnabled val="1"/>
        </dgm:presLayoutVars>
      </dgm:prSet>
      <dgm:spPr/>
    </dgm:pt>
    <dgm:pt modelId="{AE2B484B-CB2D-4263-8093-2FEFA93314B1}" type="pres">
      <dgm:prSet presAssocID="{B2B39573-C040-449C-A5C2-0DCE0B1BACD6}" presName="childShp" presStyleLbl="bgAccFollowNode1" presStyleIdx="0" presStyleCnt="5">
        <dgm:presLayoutVars>
          <dgm:bulletEnabled val="1"/>
        </dgm:presLayoutVars>
      </dgm:prSet>
      <dgm:spPr/>
    </dgm:pt>
    <dgm:pt modelId="{2261C377-F8AD-4C76-BFD8-866E339800F3}" type="pres">
      <dgm:prSet presAssocID="{75BCB0DE-1C50-4450-891E-C0775B295EA2}" presName="spacing" presStyleCnt="0"/>
      <dgm:spPr/>
    </dgm:pt>
    <dgm:pt modelId="{3A09F5D5-7ADA-472F-A29D-BEB501617AB6}" type="pres">
      <dgm:prSet presAssocID="{F3B24464-9494-49FD-86D5-A1A0F2339F8F}" presName="linNode" presStyleCnt="0"/>
      <dgm:spPr/>
    </dgm:pt>
    <dgm:pt modelId="{2F866B77-1D63-455B-8A9E-750EEA115453}" type="pres">
      <dgm:prSet presAssocID="{F3B24464-9494-49FD-86D5-A1A0F2339F8F}" presName="parentShp" presStyleLbl="node1" presStyleIdx="1" presStyleCnt="5" custScaleX="404236">
        <dgm:presLayoutVars>
          <dgm:bulletEnabled val="1"/>
        </dgm:presLayoutVars>
      </dgm:prSet>
      <dgm:spPr/>
    </dgm:pt>
    <dgm:pt modelId="{C5679340-461F-4FE0-933E-5E1570330646}" type="pres">
      <dgm:prSet presAssocID="{F3B24464-9494-49FD-86D5-A1A0F2339F8F}" presName="childShp" presStyleLbl="bgAccFollowNode1" presStyleIdx="1" presStyleCnt="5">
        <dgm:presLayoutVars>
          <dgm:bulletEnabled val="1"/>
        </dgm:presLayoutVars>
      </dgm:prSet>
      <dgm:spPr/>
    </dgm:pt>
    <dgm:pt modelId="{994EC5AF-A19C-4C1C-8154-E15BF40F21E2}" type="pres">
      <dgm:prSet presAssocID="{7B963465-C796-435B-9655-A61805DCEDEB}" presName="spacing" presStyleCnt="0"/>
      <dgm:spPr/>
    </dgm:pt>
    <dgm:pt modelId="{04B58987-A991-47D4-9DE6-6DA1B3F57B96}" type="pres">
      <dgm:prSet presAssocID="{6F2B065F-940A-48C3-B90D-7254A7BA9380}" presName="linNode" presStyleCnt="0"/>
      <dgm:spPr/>
    </dgm:pt>
    <dgm:pt modelId="{97383841-5445-4C06-A8F7-DCFD392B47D1}" type="pres">
      <dgm:prSet presAssocID="{6F2B065F-940A-48C3-B90D-7254A7BA9380}" presName="parentShp" presStyleLbl="node1" presStyleIdx="2" presStyleCnt="5" custScaleX="404236">
        <dgm:presLayoutVars>
          <dgm:bulletEnabled val="1"/>
        </dgm:presLayoutVars>
      </dgm:prSet>
      <dgm:spPr/>
    </dgm:pt>
    <dgm:pt modelId="{858F8CD2-55F7-482E-9A75-FB7B379B1F24}" type="pres">
      <dgm:prSet presAssocID="{6F2B065F-940A-48C3-B90D-7254A7BA9380}" presName="childShp" presStyleLbl="bgAccFollowNode1" presStyleIdx="2" presStyleCnt="5">
        <dgm:presLayoutVars>
          <dgm:bulletEnabled val="1"/>
        </dgm:presLayoutVars>
      </dgm:prSet>
      <dgm:spPr/>
    </dgm:pt>
    <dgm:pt modelId="{FC876BE0-AA5F-47B2-AEAE-7EB013960E66}" type="pres">
      <dgm:prSet presAssocID="{11CF7FEE-8158-43C1-A477-8E78BAD47D28}" presName="spacing" presStyleCnt="0"/>
      <dgm:spPr/>
    </dgm:pt>
    <dgm:pt modelId="{9E4AAE2C-6938-46CC-AC14-899B6E702685}" type="pres">
      <dgm:prSet presAssocID="{D3EEF4C8-7767-4BB6-A463-3CE451AB8FBB}" presName="linNode" presStyleCnt="0"/>
      <dgm:spPr/>
    </dgm:pt>
    <dgm:pt modelId="{8E2965EB-DABC-4E61-884C-9810F5678704}" type="pres">
      <dgm:prSet presAssocID="{D3EEF4C8-7767-4BB6-A463-3CE451AB8FBB}" presName="parentShp" presStyleLbl="node1" presStyleIdx="3" presStyleCnt="5" custScaleX="404236">
        <dgm:presLayoutVars>
          <dgm:bulletEnabled val="1"/>
        </dgm:presLayoutVars>
      </dgm:prSet>
      <dgm:spPr/>
    </dgm:pt>
    <dgm:pt modelId="{C3787674-2831-4F8D-9E4F-8EC53DB532EB}" type="pres">
      <dgm:prSet presAssocID="{D3EEF4C8-7767-4BB6-A463-3CE451AB8FBB}" presName="childShp" presStyleLbl="bgAccFollowNode1" presStyleIdx="3" presStyleCnt="5">
        <dgm:presLayoutVars>
          <dgm:bulletEnabled val="1"/>
        </dgm:presLayoutVars>
      </dgm:prSet>
      <dgm:spPr/>
    </dgm:pt>
    <dgm:pt modelId="{1B3C5AB3-56A1-430F-9748-F8B35C177A11}" type="pres">
      <dgm:prSet presAssocID="{7C24DB26-3CEC-43DF-8CC6-5716AE4E4EB9}" presName="spacing" presStyleCnt="0"/>
      <dgm:spPr/>
    </dgm:pt>
    <dgm:pt modelId="{D2E1AC75-E21F-4BC9-9578-3B62DEA8F9F3}" type="pres">
      <dgm:prSet presAssocID="{FE559E5A-799C-4A93-8AC7-14567BE073C9}" presName="linNode" presStyleCnt="0"/>
      <dgm:spPr/>
    </dgm:pt>
    <dgm:pt modelId="{B30B0DEF-5263-482E-A9E2-D53C1D6BB6F9}" type="pres">
      <dgm:prSet presAssocID="{FE559E5A-799C-4A93-8AC7-14567BE073C9}" presName="parentShp" presStyleLbl="node1" presStyleIdx="4" presStyleCnt="5" custScaleX="404236">
        <dgm:presLayoutVars>
          <dgm:bulletEnabled val="1"/>
        </dgm:presLayoutVars>
      </dgm:prSet>
      <dgm:spPr/>
    </dgm:pt>
    <dgm:pt modelId="{50B9118E-2583-44C2-8CEF-CD051BD36D40}" type="pres">
      <dgm:prSet presAssocID="{FE559E5A-799C-4A93-8AC7-14567BE073C9}" presName="childShp" presStyleLbl="bgAccFollowNode1" presStyleIdx="4" presStyleCnt="5">
        <dgm:presLayoutVars>
          <dgm:bulletEnabled val="1"/>
        </dgm:presLayoutVars>
      </dgm:prSet>
      <dgm:spPr/>
    </dgm:pt>
  </dgm:ptLst>
  <dgm:cxnLst>
    <dgm:cxn modelId="{16506A1B-890E-4BF6-9D0C-AF87257BE43C}" srcId="{C651B792-E6B2-4281-9103-9DE2109FE0B4}" destId="{FE559E5A-799C-4A93-8AC7-14567BE073C9}" srcOrd="4" destOrd="0" parTransId="{3540CD71-4A0F-41F4-A4C2-0C0A239D00FC}" sibTransId="{D9E3CC07-2F82-4C46-B670-0D8ECF444397}"/>
    <dgm:cxn modelId="{46024660-D8B0-4E67-AC55-8B997282AF47}" type="presOf" srcId="{B2B39573-C040-449C-A5C2-0DCE0B1BACD6}" destId="{AAC390FA-9A25-4433-B2F0-7D753C553128}" srcOrd="0" destOrd="0" presId="urn:microsoft.com/office/officeart/2005/8/layout/vList6"/>
    <dgm:cxn modelId="{EDCAAF45-E3C7-498A-9F96-265EEF5D0D8A}" srcId="{C651B792-E6B2-4281-9103-9DE2109FE0B4}" destId="{F3B24464-9494-49FD-86D5-A1A0F2339F8F}" srcOrd="1" destOrd="0" parTransId="{E90EB55E-E032-4334-9012-591973EF99E8}" sibTransId="{7B963465-C796-435B-9655-A61805DCEDEB}"/>
    <dgm:cxn modelId="{D78E0B56-0ADA-425D-88A5-4B18440F8F41}" srcId="{C651B792-E6B2-4281-9103-9DE2109FE0B4}" destId="{6F2B065F-940A-48C3-B90D-7254A7BA9380}" srcOrd="2" destOrd="0" parTransId="{EF0D34E0-8772-41FB-95B6-8D95121B4E37}" sibTransId="{11CF7FEE-8158-43C1-A477-8E78BAD47D28}"/>
    <dgm:cxn modelId="{FB4DE486-F688-4402-8D2E-5EEE15896CBA}" type="presOf" srcId="{D3EEF4C8-7767-4BB6-A463-3CE451AB8FBB}" destId="{8E2965EB-DABC-4E61-884C-9810F5678704}" srcOrd="0" destOrd="0" presId="urn:microsoft.com/office/officeart/2005/8/layout/vList6"/>
    <dgm:cxn modelId="{0E2D819A-B2E2-496C-9C7E-EB56A618FD6B}" srcId="{C651B792-E6B2-4281-9103-9DE2109FE0B4}" destId="{D3EEF4C8-7767-4BB6-A463-3CE451AB8FBB}" srcOrd="3" destOrd="0" parTransId="{1816D00D-0A4F-40A0-BBF2-8D058BF11239}" sibTransId="{7C24DB26-3CEC-43DF-8CC6-5716AE4E4EB9}"/>
    <dgm:cxn modelId="{69067FA3-7920-4E75-943F-D9462AD573AD}" srcId="{C651B792-E6B2-4281-9103-9DE2109FE0B4}" destId="{B2B39573-C040-449C-A5C2-0DCE0B1BACD6}" srcOrd="0" destOrd="0" parTransId="{7761B1BF-54EE-409C-BEBC-EA46E17C1134}" sibTransId="{75BCB0DE-1C50-4450-891E-C0775B295EA2}"/>
    <dgm:cxn modelId="{D245A1CC-509A-437D-9050-FE0401C5DBF8}" type="presOf" srcId="{F3B24464-9494-49FD-86D5-A1A0F2339F8F}" destId="{2F866B77-1D63-455B-8A9E-750EEA115453}" srcOrd="0" destOrd="0" presId="urn:microsoft.com/office/officeart/2005/8/layout/vList6"/>
    <dgm:cxn modelId="{781DF5E4-5FBF-4BA7-B23E-5D5BEDFE3CF8}" type="presOf" srcId="{C651B792-E6B2-4281-9103-9DE2109FE0B4}" destId="{B50538DE-B343-4478-80D4-2FC6354DF777}" srcOrd="0" destOrd="0" presId="urn:microsoft.com/office/officeart/2005/8/layout/vList6"/>
    <dgm:cxn modelId="{2B01C3E5-8ACA-4D94-A6CD-AB1B2F8F681A}" type="presOf" srcId="{6F2B065F-940A-48C3-B90D-7254A7BA9380}" destId="{97383841-5445-4C06-A8F7-DCFD392B47D1}" srcOrd="0" destOrd="0" presId="urn:microsoft.com/office/officeart/2005/8/layout/vList6"/>
    <dgm:cxn modelId="{D370EDEB-ABD5-41FA-94CD-FEA91B2F68BD}" type="presOf" srcId="{FE559E5A-799C-4A93-8AC7-14567BE073C9}" destId="{B30B0DEF-5263-482E-A9E2-D53C1D6BB6F9}" srcOrd="0" destOrd="0" presId="urn:microsoft.com/office/officeart/2005/8/layout/vList6"/>
    <dgm:cxn modelId="{6A2FF606-1666-4C97-B969-816E854F890D}" type="presParOf" srcId="{B50538DE-B343-4478-80D4-2FC6354DF777}" destId="{175E8517-F10E-4332-8DEB-BF3BCD428CC4}" srcOrd="0" destOrd="0" presId="urn:microsoft.com/office/officeart/2005/8/layout/vList6"/>
    <dgm:cxn modelId="{F610C795-9601-4E34-A5F1-E6A31454ABEC}" type="presParOf" srcId="{175E8517-F10E-4332-8DEB-BF3BCD428CC4}" destId="{AAC390FA-9A25-4433-B2F0-7D753C553128}" srcOrd="0" destOrd="0" presId="urn:microsoft.com/office/officeart/2005/8/layout/vList6"/>
    <dgm:cxn modelId="{CAA93887-2383-4EC1-9C6D-3E1677E3EE85}" type="presParOf" srcId="{175E8517-F10E-4332-8DEB-BF3BCD428CC4}" destId="{AE2B484B-CB2D-4263-8093-2FEFA93314B1}" srcOrd="1" destOrd="0" presId="urn:microsoft.com/office/officeart/2005/8/layout/vList6"/>
    <dgm:cxn modelId="{AAD99DD4-4240-4684-8199-2FDC8193E12B}" type="presParOf" srcId="{B50538DE-B343-4478-80D4-2FC6354DF777}" destId="{2261C377-F8AD-4C76-BFD8-866E339800F3}" srcOrd="1" destOrd="0" presId="urn:microsoft.com/office/officeart/2005/8/layout/vList6"/>
    <dgm:cxn modelId="{FB118DAA-AADD-43AF-957C-4025404DD4B8}" type="presParOf" srcId="{B50538DE-B343-4478-80D4-2FC6354DF777}" destId="{3A09F5D5-7ADA-472F-A29D-BEB501617AB6}" srcOrd="2" destOrd="0" presId="urn:microsoft.com/office/officeart/2005/8/layout/vList6"/>
    <dgm:cxn modelId="{152C66E4-6EC9-4A14-B203-DE81721052E0}" type="presParOf" srcId="{3A09F5D5-7ADA-472F-A29D-BEB501617AB6}" destId="{2F866B77-1D63-455B-8A9E-750EEA115453}" srcOrd="0" destOrd="0" presId="urn:microsoft.com/office/officeart/2005/8/layout/vList6"/>
    <dgm:cxn modelId="{6A5DD125-BD65-4ED6-B55F-841BA567F78D}" type="presParOf" srcId="{3A09F5D5-7ADA-472F-A29D-BEB501617AB6}" destId="{C5679340-461F-4FE0-933E-5E1570330646}" srcOrd="1" destOrd="0" presId="urn:microsoft.com/office/officeart/2005/8/layout/vList6"/>
    <dgm:cxn modelId="{E5D6098C-5F4E-47E5-B523-104D5D7CB8E2}" type="presParOf" srcId="{B50538DE-B343-4478-80D4-2FC6354DF777}" destId="{994EC5AF-A19C-4C1C-8154-E15BF40F21E2}" srcOrd="3" destOrd="0" presId="urn:microsoft.com/office/officeart/2005/8/layout/vList6"/>
    <dgm:cxn modelId="{B99E8763-EA2A-41D2-97EC-1DEC4D15F313}" type="presParOf" srcId="{B50538DE-B343-4478-80D4-2FC6354DF777}" destId="{04B58987-A991-47D4-9DE6-6DA1B3F57B96}" srcOrd="4" destOrd="0" presId="urn:microsoft.com/office/officeart/2005/8/layout/vList6"/>
    <dgm:cxn modelId="{87DB9D40-0A6F-4945-B43E-66CE81CB3EF3}" type="presParOf" srcId="{04B58987-A991-47D4-9DE6-6DA1B3F57B96}" destId="{97383841-5445-4C06-A8F7-DCFD392B47D1}" srcOrd="0" destOrd="0" presId="urn:microsoft.com/office/officeart/2005/8/layout/vList6"/>
    <dgm:cxn modelId="{C9515F86-F5A5-43F1-ADF0-1DD44681A504}" type="presParOf" srcId="{04B58987-A991-47D4-9DE6-6DA1B3F57B96}" destId="{858F8CD2-55F7-482E-9A75-FB7B379B1F24}" srcOrd="1" destOrd="0" presId="urn:microsoft.com/office/officeart/2005/8/layout/vList6"/>
    <dgm:cxn modelId="{ABA4E50D-3E79-4E3D-92DA-E20D6C3C1DFF}" type="presParOf" srcId="{B50538DE-B343-4478-80D4-2FC6354DF777}" destId="{FC876BE0-AA5F-47B2-AEAE-7EB013960E66}" srcOrd="5" destOrd="0" presId="urn:microsoft.com/office/officeart/2005/8/layout/vList6"/>
    <dgm:cxn modelId="{4F5FF3D4-41EA-46A3-854D-0A2E24509788}" type="presParOf" srcId="{B50538DE-B343-4478-80D4-2FC6354DF777}" destId="{9E4AAE2C-6938-46CC-AC14-899B6E702685}" srcOrd="6" destOrd="0" presId="urn:microsoft.com/office/officeart/2005/8/layout/vList6"/>
    <dgm:cxn modelId="{33ECE0AA-62C8-4435-B3D0-ED98C9832191}" type="presParOf" srcId="{9E4AAE2C-6938-46CC-AC14-899B6E702685}" destId="{8E2965EB-DABC-4E61-884C-9810F5678704}" srcOrd="0" destOrd="0" presId="urn:microsoft.com/office/officeart/2005/8/layout/vList6"/>
    <dgm:cxn modelId="{1AA9DD67-CF1C-4DB9-9B9C-D8FA42A2CB78}" type="presParOf" srcId="{9E4AAE2C-6938-46CC-AC14-899B6E702685}" destId="{C3787674-2831-4F8D-9E4F-8EC53DB532EB}" srcOrd="1" destOrd="0" presId="urn:microsoft.com/office/officeart/2005/8/layout/vList6"/>
    <dgm:cxn modelId="{871E7071-4127-4719-841B-30E8D9856D52}" type="presParOf" srcId="{B50538DE-B343-4478-80D4-2FC6354DF777}" destId="{1B3C5AB3-56A1-430F-9748-F8B35C177A11}" srcOrd="7" destOrd="0" presId="urn:microsoft.com/office/officeart/2005/8/layout/vList6"/>
    <dgm:cxn modelId="{21E2BD9A-C3E5-432A-A5DF-0C8D1EDB922D}" type="presParOf" srcId="{B50538DE-B343-4478-80D4-2FC6354DF777}" destId="{D2E1AC75-E21F-4BC9-9578-3B62DEA8F9F3}" srcOrd="8" destOrd="0" presId="urn:microsoft.com/office/officeart/2005/8/layout/vList6"/>
    <dgm:cxn modelId="{B94883F3-140E-4AA3-BC79-8853CE640DF2}" type="presParOf" srcId="{D2E1AC75-E21F-4BC9-9578-3B62DEA8F9F3}" destId="{B30B0DEF-5263-482E-A9E2-D53C1D6BB6F9}" srcOrd="0" destOrd="0" presId="urn:microsoft.com/office/officeart/2005/8/layout/vList6"/>
    <dgm:cxn modelId="{04728F30-9BAD-4DBE-8C3E-9C29CF463A75}" type="presParOf" srcId="{D2E1AC75-E21F-4BC9-9578-3B62DEA8F9F3}" destId="{50B9118E-2583-44C2-8CEF-CD051BD36D40}"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CC049F4-E3FC-451B-AA20-88C4C0B7B5BA}" type="doc">
      <dgm:prSet loTypeId="urn:microsoft.com/office/officeart/2005/8/layout/bProcess3" loCatId="process" qsTypeId="urn:microsoft.com/office/officeart/2005/8/quickstyle/simple1" qsCatId="simple" csTypeId="urn:microsoft.com/office/officeart/2005/8/colors/colorful3" csCatId="colorful" phldr="1"/>
      <dgm:spPr/>
      <dgm:t>
        <a:bodyPr/>
        <a:lstStyle/>
        <a:p>
          <a:endParaRPr lang="en-GB"/>
        </a:p>
      </dgm:t>
    </dgm:pt>
    <dgm:pt modelId="{74982E1D-D6CB-4A46-A494-B0B5B9C33B7F}">
      <dgm:prSet/>
      <dgm:spPr/>
      <dgm:t>
        <a:bodyPr/>
        <a:lstStyle/>
        <a:p>
          <a:r>
            <a:rPr lang="en-GB">
              <a:solidFill>
                <a:schemeClr val="tx1"/>
              </a:solidFill>
            </a:rPr>
            <a:t>19 February 2020 - Commission’s “White Paper on AI”</a:t>
          </a:r>
        </a:p>
      </dgm:t>
    </dgm:pt>
    <dgm:pt modelId="{51FBDC06-A6B3-4E71-99EC-ED68B1C0FDFB}" type="parTrans" cxnId="{E9AF23A6-DA4D-4B4C-88CA-A284AC0A47C8}">
      <dgm:prSet/>
      <dgm:spPr/>
      <dgm:t>
        <a:bodyPr/>
        <a:lstStyle/>
        <a:p>
          <a:endParaRPr lang="en-GB"/>
        </a:p>
      </dgm:t>
    </dgm:pt>
    <dgm:pt modelId="{FC755FD4-9A15-408C-844B-C2BB7C733547}" type="sibTrans" cxnId="{E9AF23A6-DA4D-4B4C-88CA-A284AC0A47C8}">
      <dgm:prSet/>
      <dgm:spPr/>
      <dgm:t>
        <a:bodyPr/>
        <a:lstStyle/>
        <a:p>
          <a:endParaRPr lang="en-GB"/>
        </a:p>
      </dgm:t>
    </dgm:pt>
    <dgm:pt modelId="{0B927E53-960F-4E44-829A-36FC2554FDF6}">
      <dgm:prSet/>
      <dgm:spPr/>
      <dgm:t>
        <a:bodyPr/>
        <a:lstStyle/>
        <a:p>
          <a:r>
            <a:rPr lang="en-GB"/>
            <a:t>21 April 2021 Commission’s Draft “AI Act”</a:t>
          </a:r>
        </a:p>
      </dgm:t>
    </dgm:pt>
    <dgm:pt modelId="{069841DC-8661-4992-9FB3-70B6B0E7702D}" type="parTrans" cxnId="{E63ECC71-A6BC-485F-BCD9-B26A7BFB5AB4}">
      <dgm:prSet/>
      <dgm:spPr/>
      <dgm:t>
        <a:bodyPr/>
        <a:lstStyle/>
        <a:p>
          <a:endParaRPr lang="en-GB"/>
        </a:p>
      </dgm:t>
    </dgm:pt>
    <dgm:pt modelId="{190B74AB-DA62-4414-B4B2-708860F1F619}" type="sibTrans" cxnId="{E63ECC71-A6BC-485F-BCD9-B26A7BFB5AB4}">
      <dgm:prSet/>
      <dgm:spPr/>
      <dgm:t>
        <a:bodyPr/>
        <a:lstStyle/>
        <a:p>
          <a:endParaRPr lang="en-GB"/>
        </a:p>
      </dgm:t>
    </dgm:pt>
    <dgm:pt modelId="{9C76D441-EF68-48CD-BC7F-F98232830562}">
      <dgm:prSet/>
      <dgm:spPr/>
      <dgm:t>
        <a:bodyPr/>
        <a:lstStyle/>
        <a:p>
          <a:r>
            <a:rPr lang="en-GB"/>
            <a:t>17 June 2022 - First Compromise Proposal</a:t>
          </a:r>
        </a:p>
      </dgm:t>
    </dgm:pt>
    <dgm:pt modelId="{8A5BC101-6C02-404D-9723-67FCF0D6FDEF}" type="parTrans" cxnId="{5075915E-3EFA-4170-947F-7624186E650E}">
      <dgm:prSet/>
      <dgm:spPr/>
      <dgm:t>
        <a:bodyPr/>
        <a:lstStyle/>
        <a:p>
          <a:endParaRPr lang="en-GB"/>
        </a:p>
      </dgm:t>
    </dgm:pt>
    <dgm:pt modelId="{AFE4E31C-169A-4043-A0AB-471B73B50E70}" type="sibTrans" cxnId="{5075915E-3EFA-4170-947F-7624186E650E}">
      <dgm:prSet/>
      <dgm:spPr/>
      <dgm:t>
        <a:bodyPr/>
        <a:lstStyle/>
        <a:p>
          <a:endParaRPr lang="en-GB"/>
        </a:p>
      </dgm:t>
    </dgm:pt>
    <dgm:pt modelId="{CB96A340-581D-4628-B1D6-AB9060660977}">
      <dgm:prSet/>
      <dgm:spPr/>
      <dgm:t>
        <a:bodyPr/>
        <a:lstStyle/>
        <a:p>
          <a:r>
            <a:rPr lang="en-GB"/>
            <a:t>6</a:t>
          </a:r>
          <a:r>
            <a:rPr lang="en-GB" baseline="30000"/>
            <a:t>th</a:t>
          </a:r>
          <a:r>
            <a:rPr lang="en-GB"/>
            <a:t> Dec 2022 – Council adopts its text </a:t>
          </a:r>
        </a:p>
      </dgm:t>
    </dgm:pt>
    <dgm:pt modelId="{F4AD4AA8-031F-4F25-959E-E65B3C22CB5F}" type="parTrans" cxnId="{ADECA261-701B-4626-BCD0-72C03FD04289}">
      <dgm:prSet/>
      <dgm:spPr/>
      <dgm:t>
        <a:bodyPr/>
        <a:lstStyle/>
        <a:p>
          <a:endParaRPr lang="en-GB"/>
        </a:p>
      </dgm:t>
    </dgm:pt>
    <dgm:pt modelId="{7AD21AC1-170F-4A29-8695-C25284EE9F1A}" type="sibTrans" cxnId="{ADECA261-701B-4626-BCD0-72C03FD04289}">
      <dgm:prSet/>
      <dgm:spPr/>
      <dgm:t>
        <a:bodyPr/>
        <a:lstStyle/>
        <a:p>
          <a:endParaRPr lang="en-GB"/>
        </a:p>
      </dgm:t>
    </dgm:pt>
    <dgm:pt modelId="{E4959E05-7FDD-4B21-9B2E-3CB85EED27F6}">
      <dgm:prSet/>
      <dgm:spPr/>
      <dgm:t>
        <a:bodyPr/>
        <a:lstStyle/>
        <a:p>
          <a:r>
            <a:rPr lang="en-GB" dirty="0"/>
            <a:t>Parliament adopts its text May 2023</a:t>
          </a:r>
        </a:p>
      </dgm:t>
    </dgm:pt>
    <dgm:pt modelId="{3B2A163F-138C-4242-8B87-F3803E1AF4B7}" type="parTrans" cxnId="{554F1424-2469-4A00-9AEF-B401BD8B2908}">
      <dgm:prSet/>
      <dgm:spPr/>
      <dgm:t>
        <a:bodyPr/>
        <a:lstStyle/>
        <a:p>
          <a:endParaRPr lang="en-GB"/>
        </a:p>
      </dgm:t>
    </dgm:pt>
    <dgm:pt modelId="{BD5C3346-7C4D-4D32-9587-9ADE99736637}" type="sibTrans" cxnId="{554F1424-2469-4A00-9AEF-B401BD8B2908}">
      <dgm:prSet/>
      <dgm:spPr/>
      <dgm:t>
        <a:bodyPr/>
        <a:lstStyle/>
        <a:p>
          <a:endParaRPr lang="en-GB"/>
        </a:p>
      </dgm:t>
    </dgm:pt>
    <dgm:pt modelId="{00A71E87-4F69-4659-8D88-D60357EF7C87}">
      <dgm:prSet/>
      <dgm:spPr/>
      <dgm:t>
        <a:bodyPr/>
        <a:lstStyle/>
        <a:p>
          <a:r>
            <a:rPr lang="en-GB"/>
            <a:t>Trilogues July – Jan 2024: Political Agreement reached – 8</a:t>
          </a:r>
          <a:r>
            <a:rPr lang="en-GB" baseline="30000"/>
            <a:t>th</a:t>
          </a:r>
          <a:r>
            <a:rPr lang="en-GB"/>
            <a:t> Jan 2024</a:t>
          </a:r>
        </a:p>
      </dgm:t>
    </dgm:pt>
    <dgm:pt modelId="{DA44B292-E76C-419C-88FC-94BB04152BC7}" type="parTrans" cxnId="{F449C3C2-50A2-49DA-8E5A-FB526B37356B}">
      <dgm:prSet/>
      <dgm:spPr/>
      <dgm:t>
        <a:bodyPr/>
        <a:lstStyle/>
        <a:p>
          <a:endParaRPr lang="en-GB"/>
        </a:p>
      </dgm:t>
    </dgm:pt>
    <dgm:pt modelId="{58023C69-2FC7-476A-A85F-6108C5A212DA}" type="sibTrans" cxnId="{F449C3C2-50A2-49DA-8E5A-FB526B37356B}">
      <dgm:prSet/>
      <dgm:spPr/>
      <dgm:t>
        <a:bodyPr/>
        <a:lstStyle/>
        <a:p>
          <a:endParaRPr lang="en-GB"/>
        </a:p>
      </dgm:t>
    </dgm:pt>
    <dgm:pt modelId="{AACCD4E4-5619-456B-8020-6478CA82001E}">
      <dgm:prSet/>
      <dgm:spPr/>
      <dgm:t>
        <a:bodyPr/>
        <a:lstStyle/>
        <a:p>
          <a:r>
            <a:rPr lang="en-GB"/>
            <a:t>Parliament votes 13 March 2024 – passes overwhelmingly</a:t>
          </a:r>
        </a:p>
      </dgm:t>
    </dgm:pt>
    <dgm:pt modelId="{37348D69-9FED-4C64-8FEF-04D12485E6F2}" type="parTrans" cxnId="{7D38A2CC-6456-419F-B3F9-B07BF3041F4E}">
      <dgm:prSet/>
      <dgm:spPr/>
      <dgm:t>
        <a:bodyPr/>
        <a:lstStyle/>
        <a:p>
          <a:endParaRPr lang="en-GB"/>
        </a:p>
      </dgm:t>
    </dgm:pt>
    <dgm:pt modelId="{E37ADA0B-B67B-425E-8983-9DFB77B853BD}" type="sibTrans" cxnId="{7D38A2CC-6456-419F-B3F9-B07BF3041F4E}">
      <dgm:prSet/>
      <dgm:spPr/>
      <dgm:t>
        <a:bodyPr/>
        <a:lstStyle/>
        <a:p>
          <a:endParaRPr lang="en-GB"/>
        </a:p>
      </dgm:t>
    </dgm:pt>
    <dgm:pt modelId="{9F8FDE15-5444-44E1-93D0-78FB9755FF2A}">
      <dgm:prSet/>
      <dgm:spPr/>
      <dgm:t>
        <a:bodyPr/>
        <a:lstStyle/>
        <a:p>
          <a:r>
            <a:rPr lang="en-GB" dirty="0"/>
            <a:t>OJEU publication expected April / May ‘24</a:t>
          </a:r>
        </a:p>
      </dgm:t>
    </dgm:pt>
    <dgm:pt modelId="{25AD612E-A934-4FC2-B1B1-22966F6E90EE}" type="parTrans" cxnId="{8EEE5FFD-CC7E-468E-9B2A-DD9DE3983619}">
      <dgm:prSet/>
      <dgm:spPr/>
      <dgm:t>
        <a:bodyPr/>
        <a:lstStyle/>
        <a:p>
          <a:endParaRPr lang="en-GB"/>
        </a:p>
      </dgm:t>
    </dgm:pt>
    <dgm:pt modelId="{7F37E9F7-D2EE-46AA-B6FB-A57913FDE652}" type="sibTrans" cxnId="{8EEE5FFD-CC7E-468E-9B2A-DD9DE3983619}">
      <dgm:prSet/>
      <dgm:spPr/>
      <dgm:t>
        <a:bodyPr/>
        <a:lstStyle/>
        <a:p>
          <a:endParaRPr lang="en-GB"/>
        </a:p>
      </dgm:t>
    </dgm:pt>
    <dgm:pt modelId="{094F3D87-EFC0-4847-A4F6-08BF3DFF86ED}" type="pres">
      <dgm:prSet presAssocID="{7CC049F4-E3FC-451B-AA20-88C4C0B7B5BA}" presName="Name0" presStyleCnt="0">
        <dgm:presLayoutVars>
          <dgm:dir/>
          <dgm:resizeHandles val="exact"/>
        </dgm:presLayoutVars>
      </dgm:prSet>
      <dgm:spPr/>
    </dgm:pt>
    <dgm:pt modelId="{D9961774-D812-461B-BE67-7F34A1469AD6}" type="pres">
      <dgm:prSet presAssocID="{74982E1D-D6CB-4A46-A494-B0B5B9C33B7F}" presName="node" presStyleLbl="node1" presStyleIdx="0" presStyleCnt="8" custLinFactNeighborX="-93" custLinFactNeighborY="-1093">
        <dgm:presLayoutVars>
          <dgm:bulletEnabled val="1"/>
        </dgm:presLayoutVars>
      </dgm:prSet>
      <dgm:spPr/>
    </dgm:pt>
    <dgm:pt modelId="{D7DE948A-2E88-4F2F-95C4-640BAE640DCA}" type="pres">
      <dgm:prSet presAssocID="{FC755FD4-9A15-408C-844B-C2BB7C733547}" presName="sibTrans" presStyleLbl="sibTrans1D1" presStyleIdx="0" presStyleCnt="7"/>
      <dgm:spPr/>
    </dgm:pt>
    <dgm:pt modelId="{A7B05B50-A4B5-43C4-842B-2F45ED542D63}" type="pres">
      <dgm:prSet presAssocID="{FC755FD4-9A15-408C-844B-C2BB7C733547}" presName="connectorText" presStyleLbl="sibTrans1D1" presStyleIdx="0" presStyleCnt="7"/>
      <dgm:spPr/>
    </dgm:pt>
    <dgm:pt modelId="{A286C9B8-ECB9-4E2F-90DE-FBC841572CF9}" type="pres">
      <dgm:prSet presAssocID="{0B927E53-960F-4E44-829A-36FC2554FDF6}" presName="node" presStyleLbl="node1" presStyleIdx="1" presStyleCnt="8">
        <dgm:presLayoutVars>
          <dgm:bulletEnabled val="1"/>
        </dgm:presLayoutVars>
      </dgm:prSet>
      <dgm:spPr/>
    </dgm:pt>
    <dgm:pt modelId="{CD003AA9-D498-4DA9-8EFA-149BA42A1385}" type="pres">
      <dgm:prSet presAssocID="{190B74AB-DA62-4414-B4B2-708860F1F619}" presName="sibTrans" presStyleLbl="sibTrans1D1" presStyleIdx="1" presStyleCnt="7"/>
      <dgm:spPr/>
    </dgm:pt>
    <dgm:pt modelId="{B9689E9D-A0F7-4919-8EFC-4E0FDF68918D}" type="pres">
      <dgm:prSet presAssocID="{190B74AB-DA62-4414-B4B2-708860F1F619}" presName="connectorText" presStyleLbl="sibTrans1D1" presStyleIdx="1" presStyleCnt="7"/>
      <dgm:spPr/>
    </dgm:pt>
    <dgm:pt modelId="{F009137C-05E9-4617-A9DE-4D23A9CD6286}" type="pres">
      <dgm:prSet presAssocID="{9C76D441-EF68-48CD-BC7F-F98232830562}" presName="node" presStyleLbl="node1" presStyleIdx="2" presStyleCnt="8">
        <dgm:presLayoutVars>
          <dgm:bulletEnabled val="1"/>
        </dgm:presLayoutVars>
      </dgm:prSet>
      <dgm:spPr/>
    </dgm:pt>
    <dgm:pt modelId="{895DA4C2-42FF-40D6-B851-82E098D2B596}" type="pres">
      <dgm:prSet presAssocID="{AFE4E31C-169A-4043-A0AB-471B73B50E70}" presName="sibTrans" presStyleLbl="sibTrans1D1" presStyleIdx="2" presStyleCnt="7"/>
      <dgm:spPr/>
    </dgm:pt>
    <dgm:pt modelId="{07DE5C87-D78F-4931-8FF8-2CEF81E75D5C}" type="pres">
      <dgm:prSet presAssocID="{AFE4E31C-169A-4043-A0AB-471B73B50E70}" presName="connectorText" presStyleLbl="sibTrans1D1" presStyleIdx="2" presStyleCnt="7"/>
      <dgm:spPr/>
    </dgm:pt>
    <dgm:pt modelId="{0C2C66D9-4904-4744-9EEF-EA02552C194D}" type="pres">
      <dgm:prSet presAssocID="{CB96A340-581D-4628-B1D6-AB9060660977}" presName="node" presStyleLbl="node1" presStyleIdx="3" presStyleCnt="8">
        <dgm:presLayoutVars>
          <dgm:bulletEnabled val="1"/>
        </dgm:presLayoutVars>
      </dgm:prSet>
      <dgm:spPr/>
    </dgm:pt>
    <dgm:pt modelId="{B3FD9534-7B05-4DBB-81B1-3DD43A1A0530}" type="pres">
      <dgm:prSet presAssocID="{7AD21AC1-170F-4A29-8695-C25284EE9F1A}" presName="sibTrans" presStyleLbl="sibTrans1D1" presStyleIdx="3" presStyleCnt="7"/>
      <dgm:spPr/>
    </dgm:pt>
    <dgm:pt modelId="{714D4ACA-7612-48E3-9706-EB92EA4C3BA2}" type="pres">
      <dgm:prSet presAssocID="{7AD21AC1-170F-4A29-8695-C25284EE9F1A}" presName="connectorText" presStyleLbl="sibTrans1D1" presStyleIdx="3" presStyleCnt="7"/>
      <dgm:spPr/>
    </dgm:pt>
    <dgm:pt modelId="{A0FA22EE-A756-4B5D-B3E2-6147839C133E}" type="pres">
      <dgm:prSet presAssocID="{E4959E05-7FDD-4B21-9B2E-3CB85EED27F6}" presName="node" presStyleLbl="node1" presStyleIdx="4" presStyleCnt="8">
        <dgm:presLayoutVars>
          <dgm:bulletEnabled val="1"/>
        </dgm:presLayoutVars>
      </dgm:prSet>
      <dgm:spPr/>
    </dgm:pt>
    <dgm:pt modelId="{8394483D-20D5-40D8-BE27-0263A200827C}" type="pres">
      <dgm:prSet presAssocID="{BD5C3346-7C4D-4D32-9587-9ADE99736637}" presName="sibTrans" presStyleLbl="sibTrans1D1" presStyleIdx="4" presStyleCnt="7"/>
      <dgm:spPr/>
    </dgm:pt>
    <dgm:pt modelId="{5D60F689-FAD8-4BEB-B750-4BA935BF4A27}" type="pres">
      <dgm:prSet presAssocID="{BD5C3346-7C4D-4D32-9587-9ADE99736637}" presName="connectorText" presStyleLbl="sibTrans1D1" presStyleIdx="4" presStyleCnt="7"/>
      <dgm:spPr/>
    </dgm:pt>
    <dgm:pt modelId="{BF1B210E-FB32-439B-A8D4-D573669AAD15}" type="pres">
      <dgm:prSet presAssocID="{00A71E87-4F69-4659-8D88-D60357EF7C87}" presName="node" presStyleLbl="node1" presStyleIdx="5" presStyleCnt="8">
        <dgm:presLayoutVars>
          <dgm:bulletEnabled val="1"/>
        </dgm:presLayoutVars>
      </dgm:prSet>
      <dgm:spPr/>
    </dgm:pt>
    <dgm:pt modelId="{59E4D7AA-742A-4673-BB65-27FB63423507}" type="pres">
      <dgm:prSet presAssocID="{58023C69-2FC7-476A-A85F-6108C5A212DA}" presName="sibTrans" presStyleLbl="sibTrans1D1" presStyleIdx="5" presStyleCnt="7"/>
      <dgm:spPr/>
    </dgm:pt>
    <dgm:pt modelId="{FA181A5F-53D8-4019-B11C-F5A4FB57AD5D}" type="pres">
      <dgm:prSet presAssocID="{58023C69-2FC7-476A-A85F-6108C5A212DA}" presName="connectorText" presStyleLbl="sibTrans1D1" presStyleIdx="5" presStyleCnt="7"/>
      <dgm:spPr/>
    </dgm:pt>
    <dgm:pt modelId="{FB99CCCC-EF41-4CC7-8194-A4DCBECFE308}" type="pres">
      <dgm:prSet presAssocID="{AACCD4E4-5619-456B-8020-6478CA82001E}" presName="node" presStyleLbl="node1" presStyleIdx="6" presStyleCnt="8">
        <dgm:presLayoutVars>
          <dgm:bulletEnabled val="1"/>
        </dgm:presLayoutVars>
      </dgm:prSet>
      <dgm:spPr/>
    </dgm:pt>
    <dgm:pt modelId="{84826EB9-C9DC-47E0-834C-788DD6EB37AA}" type="pres">
      <dgm:prSet presAssocID="{E37ADA0B-B67B-425E-8983-9DFB77B853BD}" presName="sibTrans" presStyleLbl="sibTrans1D1" presStyleIdx="6" presStyleCnt="7"/>
      <dgm:spPr/>
    </dgm:pt>
    <dgm:pt modelId="{593B5315-DC1F-4979-AE7D-DC3486A9DCE8}" type="pres">
      <dgm:prSet presAssocID="{E37ADA0B-B67B-425E-8983-9DFB77B853BD}" presName="connectorText" presStyleLbl="sibTrans1D1" presStyleIdx="6" presStyleCnt="7"/>
      <dgm:spPr/>
    </dgm:pt>
    <dgm:pt modelId="{CEF272FC-3279-4C2C-9B57-6B85AA20DD7C}" type="pres">
      <dgm:prSet presAssocID="{9F8FDE15-5444-44E1-93D0-78FB9755FF2A}" presName="node" presStyleLbl="node1" presStyleIdx="7" presStyleCnt="8">
        <dgm:presLayoutVars>
          <dgm:bulletEnabled val="1"/>
        </dgm:presLayoutVars>
      </dgm:prSet>
      <dgm:spPr/>
    </dgm:pt>
  </dgm:ptLst>
  <dgm:cxnLst>
    <dgm:cxn modelId="{F378FC04-BD09-4A5D-A57A-A08A8376E2D6}" type="presOf" srcId="{7CC049F4-E3FC-451B-AA20-88C4C0B7B5BA}" destId="{094F3D87-EFC0-4847-A4F6-08BF3DFF86ED}" srcOrd="0" destOrd="0" presId="urn:microsoft.com/office/officeart/2005/8/layout/bProcess3"/>
    <dgm:cxn modelId="{825FD00E-21C7-4140-B05E-9DE677728C65}" type="presOf" srcId="{7AD21AC1-170F-4A29-8695-C25284EE9F1A}" destId="{B3FD9534-7B05-4DBB-81B1-3DD43A1A0530}" srcOrd="0" destOrd="0" presId="urn:microsoft.com/office/officeart/2005/8/layout/bProcess3"/>
    <dgm:cxn modelId="{554F1424-2469-4A00-9AEF-B401BD8B2908}" srcId="{7CC049F4-E3FC-451B-AA20-88C4C0B7B5BA}" destId="{E4959E05-7FDD-4B21-9B2E-3CB85EED27F6}" srcOrd="4" destOrd="0" parTransId="{3B2A163F-138C-4242-8B87-F3803E1AF4B7}" sibTransId="{BD5C3346-7C4D-4D32-9587-9ADE99736637}"/>
    <dgm:cxn modelId="{6D44D428-39DB-4A36-96E7-902A095E9390}" type="presOf" srcId="{BD5C3346-7C4D-4D32-9587-9ADE99736637}" destId="{8394483D-20D5-40D8-BE27-0263A200827C}" srcOrd="0" destOrd="0" presId="urn:microsoft.com/office/officeart/2005/8/layout/bProcess3"/>
    <dgm:cxn modelId="{4CFB5631-1400-4810-87AC-D2F58F530BEA}" type="presOf" srcId="{FC755FD4-9A15-408C-844B-C2BB7C733547}" destId="{D7DE948A-2E88-4F2F-95C4-640BAE640DCA}" srcOrd="0" destOrd="0" presId="urn:microsoft.com/office/officeart/2005/8/layout/bProcess3"/>
    <dgm:cxn modelId="{42A7B132-58DF-419A-B194-0A1A4C6930AD}" type="presOf" srcId="{AFE4E31C-169A-4043-A0AB-471B73B50E70}" destId="{07DE5C87-D78F-4931-8FF8-2CEF81E75D5C}" srcOrd="1" destOrd="0" presId="urn:microsoft.com/office/officeart/2005/8/layout/bProcess3"/>
    <dgm:cxn modelId="{BF858E40-44A9-4016-925D-CBBF34456875}" type="presOf" srcId="{190B74AB-DA62-4414-B4B2-708860F1F619}" destId="{CD003AA9-D498-4DA9-8EFA-149BA42A1385}" srcOrd="0" destOrd="0" presId="urn:microsoft.com/office/officeart/2005/8/layout/bProcess3"/>
    <dgm:cxn modelId="{5075915E-3EFA-4170-947F-7624186E650E}" srcId="{7CC049F4-E3FC-451B-AA20-88C4C0B7B5BA}" destId="{9C76D441-EF68-48CD-BC7F-F98232830562}" srcOrd="2" destOrd="0" parTransId="{8A5BC101-6C02-404D-9723-67FCF0D6FDEF}" sibTransId="{AFE4E31C-169A-4043-A0AB-471B73B50E70}"/>
    <dgm:cxn modelId="{ADECA261-701B-4626-BCD0-72C03FD04289}" srcId="{7CC049F4-E3FC-451B-AA20-88C4C0B7B5BA}" destId="{CB96A340-581D-4628-B1D6-AB9060660977}" srcOrd="3" destOrd="0" parTransId="{F4AD4AA8-031F-4F25-959E-E65B3C22CB5F}" sibTransId="{7AD21AC1-170F-4A29-8695-C25284EE9F1A}"/>
    <dgm:cxn modelId="{C12C9B4B-EBAE-4B5B-ACD5-BA609C612012}" type="presOf" srcId="{AFE4E31C-169A-4043-A0AB-471B73B50E70}" destId="{895DA4C2-42FF-40D6-B851-82E098D2B596}" srcOrd="0" destOrd="0" presId="urn:microsoft.com/office/officeart/2005/8/layout/bProcess3"/>
    <dgm:cxn modelId="{01540D6C-7527-497C-BC19-FBB790AD635E}" type="presOf" srcId="{CB96A340-581D-4628-B1D6-AB9060660977}" destId="{0C2C66D9-4904-4744-9EEF-EA02552C194D}" srcOrd="0" destOrd="0" presId="urn:microsoft.com/office/officeart/2005/8/layout/bProcess3"/>
    <dgm:cxn modelId="{ACE9184D-6AC8-471B-99A9-222DF3C75AAD}" type="presOf" srcId="{58023C69-2FC7-476A-A85F-6108C5A212DA}" destId="{59E4D7AA-742A-4673-BB65-27FB63423507}" srcOrd="0" destOrd="0" presId="urn:microsoft.com/office/officeart/2005/8/layout/bProcess3"/>
    <dgm:cxn modelId="{E63ECC71-A6BC-485F-BCD9-B26A7BFB5AB4}" srcId="{7CC049F4-E3FC-451B-AA20-88C4C0B7B5BA}" destId="{0B927E53-960F-4E44-829A-36FC2554FDF6}" srcOrd="1" destOrd="0" parTransId="{069841DC-8661-4992-9FB3-70B6B0E7702D}" sibTransId="{190B74AB-DA62-4414-B4B2-708860F1F619}"/>
    <dgm:cxn modelId="{F6D0B575-F44D-4E4A-94F5-5557F036B064}" type="presOf" srcId="{74982E1D-D6CB-4A46-A494-B0B5B9C33B7F}" destId="{D9961774-D812-461B-BE67-7F34A1469AD6}" srcOrd="0" destOrd="0" presId="urn:microsoft.com/office/officeart/2005/8/layout/bProcess3"/>
    <dgm:cxn modelId="{FF31D078-1E79-4000-BA5D-44081F33055F}" type="presOf" srcId="{9F8FDE15-5444-44E1-93D0-78FB9755FF2A}" destId="{CEF272FC-3279-4C2C-9B57-6B85AA20DD7C}" srcOrd="0" destOrd="0" presId="urn:microsoft.com/office/officeart/2005/8/layout/bProcess3"/>
    <dgm:cxn modelId="{E8CE4287-663A-48BC-85AC-A6662425936C}" type="presOf" srcId="{BD5C3346-7C4D-4D32-9587-9ADE99736637}" destId="{5D60F689-FAD8-4BEB-B750-4BA935BF4A27}" srcOrd="1" destOrd="0" presId="urn:microsoft.com/office/officeart/2005/8/layout/bProcess3"/>
    <dgm:cxn modelId="{99E51697-3A29-47D3-AAF2-CF546F15572D}" type="presOf" srcId="{9C76D441-EF68-48CD-BC7F-F98232830562}" destId="{F009137C-05E9-4617-A9DE-4D23A9CD6286}" srcOrd="0" destOrd="0" presId="urn:microsoft.com/office/officeart/2005/8/layout/bProcess3"/>
    <dgm:cxn modelId="{55C22399-FCD5-43B2-9838-A1D1C2313482}" type="presOf" srcId="{E4959E05-7FDD-4B21-9B2E-3CB85EED27F6}" destId="{A0FA22EE-A756-4B5D-B3E2-6147839C133E}" srcOrd="0" destOrd="0" presId="urn:microsoft.com/office/officeart/2005/8/layout/bProcess3"/>
    <dgm:cxn modelId="{6D7E7E9A-8030-4F90-961C-A86BF42DA0A6}" type="presOf" srcId="{190B74AB-DA62-4414-B4B2-708860F1F619}" destId="{B9689E9D-A0F7-4919-8EFC-4E0FDF68918D}" srcOrd="1" destOrd="0" presId="urn:microsoft.com/office/officeart/2005/8/layout/bProcess3"/>
    <dgm:cxn modelId="{1D4891A3-43A4-48A7-8C43-3AC657E825AC}" type="presOf" srcId="{FC755FD4-9A15-408C-844B-C2BB7C733547}" destId="{A7B05B50-A4B5-43C4-842B-2F45ED542D63}" srcOrd="1" destOrd="0" presId="urn:microsoft.com/office/officeart/2005/8/layout/bProcess3"/>
    <dgm:cxn modelId="{C18FE4A4-6CEC-401A-9DF8-BFA83FAD83E3}" type="presOf" srcId="{0B927E53-960F-4E44-829A-36FC2554FDF6}" destId="{A286C9B8-ECB9-4E2F-90DE-FBC841572CF9}" srcOrd="0" destOrd="0" presId="urn:microsoft.com/office/officeart/2005/8/layout/bProcess3"/>
    <dgm:cxn modelId="{E9AF23A6-DA4D-4B4C-88CA-A284AC0A47C8}" srcId="{7CC049F4-E3FC-451B-AA20-88C4C0B7B5BA}" destId="{74982E1D-D6CB-4A46-A494-B0B5B9C33B7F}" srcOrd="0" destOrd="0" parTransId="{51FBDC06-A6B3-4E71-99EC-ED68B1C0FDFB}" sibTransId="{FC755FD4-9A15-408C-844B-C2BB7C733547}"/>
    <dgm:cxn modelId="{B9666BC0-78C8-4B34-9713-3DCBCB03BF83}" type="presOf" srcId="{00A71E87-4F69-4659-8D88-D60357EF7C87}" destId="{BF1B210E-FB32-439B-A8D4-D573669AAD15}" srcOrd="0" destOrd="0" presId="urn:microsoft.com/office/officeart/2005/8/layout/bProcess3"/>
    <dgm:cxn modelId="{F449C3C2-50A2-49DA-8E5A-FB526B37356B}" srcId="{7CC049F4-E3FC-451B-AA20-88C4C0B7B5BA}" destId="{00A71E87-4F69-4659-8D88-D60357EF7C87}" srcOrd="5" destOrd="0" parTransId="{DA44B292-E76C-419C-88FC-94BB04152BC7}" sibTransId="{58023C69-2FC7-476A-A85F-6108C5A212DA}"/>
    <dgm:cxn modelId="{CF0347C4-92FA-45CF-8A4C-E93589084156}" type="presOf" srcId="{7AD21AC1-170F-4A29-8695-C25284EE9F1A}" destId="{714D4ACA-7612-48E3-9706-EB92EA4C3BA2}" srcOrd="1" destOrd="0" presId="urn:microsoft.com/office/officeart/2005/8/layout/bProcess3"/>
    <dgm:cxn modelId="{7D38A2CC-6456-419F-B3F9-B07BF3041F4E}" srcId="{7CC049F4-E3FC-451B-AA20-88C4C0B7B5BA}" destId="{AACCD4E4-5619-456B-8020-6478CA82001E}" srcOrd="6" destOrd="0" parTransId="{37348D69-9FED-4C64-8FEF-04D12485E6F2}" sibTransId="{E37ADA0B-B67B-425E-8983-9DFB77B853BD}"/>
    <dgm:cxn modelId="{8C5E7FEE-F1E7-4996-AF65-858DBE2C218E}" type="presOf" srcId="{AACCD4E4-5619-456B-8020-6478CA82001E}" destId="{FB99CCCC-EF41-4CC7-8194-A4DCBECFE308}" srcOrd="0" destOrd="0" presId="urn:microsoft.com/office/officeart/2005/8/layout/bProcess3"/>
    <dgm:cxn modelId="{E2D20EF4-5C89-47D7-9719-A8E54231AD45}" type="presOf" srcId="{58023C69-2FC7-476A-A85F-6108C5A212DA}" destId="{FA181A5F-53D8-4019-B11C-F5A4FB57AD5D}" srcOrd="1" destOrd="0" presId="urn:microsoft.com/office/officeart/2005/8/layout/bProcess3"/>
    <dgm:cxn modelId="{D36362F5-491C-4ACE-B98E-3F3D61F24CEF}" type="presOf" srcId="{E37ADA0B-B67B-425E-8983-9DFB77B853BD}" destId="{593B5315-DC1F-4979-AE7D-DC3486A9DCE8}" srcOrd="1" destOrd="0" presId="urn:microsoft.com/office/officeart/2005/8/layout/bProcess3"/>
    <dgm:cxn modelId="{BA458FF8-458A-44EB-A2A7-2585DDF68104}" type="presOf" srcId="{E37ADA0B-B67B-425E-8983-9DFB77B853BD}" destId="{84826EB9-C9DC-47E0-834C-788DD6EB37AA}" srcOrd="0" destOrd="0" presId="urn:microsoft.com/office/officeart/2005/8/layout/bProcess3"/>
    <dgm:cxn modelId="{8EEE5FFD-CC7E-468E-9B2A-DD9DE3983619}" srcId="{7CC049F4-E3FC-451B-AA20-88C4C0B7B5BA}" destId="{9F8FDE15-5444-44E1-93D0-78FB9755FF2A}" srcOrd="7" destOrd="0" parTransId="{25AD612E-A934-4FC2-B1B1-22966F6E90EE}" sibTransId="{7F37E9F7-D2EE-46AA-B6FB-A57913FDE652}"/>
    <dgm:cxn modelId="{EBB18B61-DB0C-4D02-8918-8FC1E0670675}" type="presParOf" srcId="{094F3D87-EFC0-4847-A4F6-08BF3DFF86ED}" destId="{D9961774-D812-461B-BE67-7F34A1469AD6}" srcOrd="0" destOrd="0" presId="urn:microsoft.com/office/officeart/2005/8/layout/bProcess3"/>
    <dgm:cxn modelId="{58FA033C-FF0E-4735-A91D-E224AF0D1453}" type="presParOf" srcId="{094F3D87-EFC0-4847-A4F6-08BF3DFF86ED}" destId="{D7DE948A-2E88-4F2F-95C4-640BAE640DCA}" srcOrd="1" destOrd="0" presId="urn:microsoft.com/office/officeart/2005/8/layout/bProcess3"/>
    <dgm:cxn modelId="{C5FE3E3A-CD6E-46F5-BA1F-01AE77C2A8B3}" type="presParOf" srcId="{D7DE948A-2E88-4F2F-95C4-640BAE640DCA}" destId="{A7B05B50-A4B5-43C4-842B-2F45ED542D63}" srcOrd="0" destOrd="0" presId="urn:microsoft.com/office/officeart/2005/8/layout/bProcess3"/>
    <dgm:cxn modelId="{3F0FBB08-8FF6-43D1-B285-EE536756DA4E}" type="presParOf" srcId="{094F3D87-EFC0-4847-A4F6-08BF3DFF86ED}" destId="{A286C9B8-ECB9-4E2F-90DE-FBC841572CF9}" srcOrd="2" destOrd="0" presId="urn:microsoft.com/office/officeart/2005/8/layout/bProcess3"/>
    <dgm:cxn modelId="{554A839D-7A75-41AD-ADBB-551762D0A176}" type="presParOf" srcId="{094F3D87-EFC0-4847-A4F6-08BF3DFF86ED}" destId="{CD003AA9-D498-4DA9-8EFA-149BA42A1385}" srcOrd="3" destOrd="0" presId="urn:microsoft.com/office/officeart/2005/8/layout/bProcess3"/>
    <dgm:cxn modelId="{EB5BCAB3-5CB1-4897-B7F9-D04C55AA9CEA}" type="presParOf" srcId="{CD003AA9-D498-4DA9-8EFA-149BA42A1385}" destId="{B9689E9D-A0F7-4919-8EFC-4E0FDF68918D}" srcOrd="0" destOrd="0" presId="urn:microsoft.com/office/officeart/2005/8/layout/bProcess3"/>
    <dgm:cxn modelId="{D4ED5D49-6616-492D-A108-EC678812598B}" type="presParOf" srcId="{094F3D87-EFC0-4847-A4F6-08BF3DFF86ED}" destId="{F009137C-05E9-4617-A9DE-4D23A9CD6286}" srcOrd="4" destOrd="0" presId="urn:microsoft.com/office/officeart/2005/8/layout/bProcess3"/>
    <dgm:cxn modelId="{383BD58A-9E13-4798-AB10-061E79D644B4}" type="presParOf" srcId="{094F3D87-EFC0-4847-A4F6-08BF3DFF86ED}" destId="{895DA4C2-42FF-40D6-B851-82E098D2B596}" srcOrd="5" destOrd="0" presId="urn:microsoft.com/office/officeart/2005/8/layout/bProcess3"/>
    <dgm:cxn modelId="{55B413C2-FC72-4190-B2B2-B9DEFC3B9B28}" type="presParOf" srcId="{895DA4C2-42FF-40D6-B851-82E098D2B596}" destId="{07DE5C87-D78F-4931-8FF8-2CEF81E75D5C}" srcOrd="0" destOrd="0" presId="urn:microsoft.com/office/officeart/2005/8/layout/bProcess3"/>
    <dgm:cxn modelId="{D194279D-C4A6-4C67-8C8E-C79D6E1BC1DA}" type="presParOf" srcId="{094F3D87-EFC0-4847-A4F6-08BF3DFF86ED}" destId="{0C2C66D9-4904-4744-9EEF-EA02552C194D}" srcOrd="6" destOrd="0" presId="urn:microsoft.com/office/officeart/2005/8/layout/bProcess3"/>
    <dgm:cxn modelId="{5BCB9A85-E71E-465A-B7C8-860E96F0BA2B}" type="presParOf" srcId="{094F3D87-EFC0-4847-A4F6-08BF3DFF86ED}" destId="{B3FD9534-7B05-4DBB-81B1-3DD43A1A0530}" srcOrd="7" destOrd="0" presId="urn:microsoft.com/office/officeart/2005/8/layout/bProcess3"/>
    <dgm:cxn modelId="{BC91F5AA-712D-4ECE-9602-ACF27DF2B8A5}" type="presParOf" srcId="{B3FD9534-7B05-4DBB-81B1-3DD43A1A0530}" destId="{714D4ACA-7612-48E3-9706-EB92EA4C3BA2}" srcOrd="0" destOrd="0" presId="urn:microsoft.com/office/officeart/2005/8/layout/bProcess3"/>
    <dgm:cxn modelId="{28F00A3F-A161-4E33-B1AD-BE63751E0095}" type="presParOf" srcId="{094F3D87-EFC0-4847-A4F6-08BF3DFF86ED}" destId="{A0FA22EE-A756-4B5D-B3E2-6147839C133E}" srcOrd="8" destOrd="0" presId="urn:microsoft.com/office/officeart/2005/8/layout/bProcess3"/>
    <dgm:cxn modelId="{26783CA3-DE3F-4FEF-AD50-C48B380B6265}" type="presParOf" srcId="{094F3D87-EFC0-4847-A4F6-08BF3DFF86ED}" destId="{8394483D-20D5-40D8-BE27-0263A200827C}" srcOrd="9" destOrd="0" presId="urn:microsoft.com/office/officeart/2005/8/layout/bProcess3"/>
    <dgm:cxn modelId="{4C9353CC-E5B4-4D45-BEA1-401DA7507380}" type="presParOf" srcId="{8394483D-20D5-40D8-BE27-0263A200827C}" destId="{5D60F689-FAD8-4BEB-B750-4BA935BF4A27}" srcOrd="0" destOrd="0" presId="urn:microsoft.com/office/officeart/2005/8/layout/bProcess3"/>
    <dgm:cxn modelId="{24514391-B6BF-46AD-829F-8A2404CF9D93}" type="presParOf" srcId="{094F3D87-EFC0-4847-A4F6-08BF3DFF86ED}" destId="{BF1B210E-FB32-439B-A8D4-D573669AAD15}" srcOrd="10" destOrd="0" presId="urn:microsoft.com/office/officeart/2005/8/layout/bProcess3"/>
    <dgm:cxn modelId="{EE342075-5186-498D-A9E5-959B03D94939}" type="presParOf" srcId="{094F3D87-EFC0-4847-A4F6-08BF3DFF86ED}" destId="{59E4D7AA-742A-4673-BB65-27FB63423507}" srcOrd="11" destOrd="0" presId="urn:microsoft.com/office/officeart/2005/8/layout/bProcess3"/>
    <dgm:cxn modelId="{7208528E-CDDF-4BD2-8F54-8AA484096A2A}" type="presParOf" srcId="{59E4D7AA-742A-4673-BB65-27FB63423507}" destId="{FA181A5F-53D8-4019-B11C-F5A4FB57AD5D}" srcOrd="0" destOrd="0" presId="urn:microsoft.com/office/officeart/2005/8/layout/bProcess3"/>
    <dgm:cxn modelId="{6C89D636-AB3E-4530-A330-6CE3B2E84F19}" type="presParOf" srcId="{094F3D87-EFC0-4847-A4F6-08BF3DFF86ED}" destId="{FB99CCCC-EF41-4CC7-8194-A4DCBECFE308}" srcOrd="12" destOrd="0" presId="urn:microsoft.com/office/officeart/2005/8/layout/bProcess3"/>
    <dgm:cxn modelId="{1D1A95DF-DFE8-4FCB-B898-0F5AFB776D89}" type="presParOf" srcId="{094F3D87-EFC0-4847-A4F6-08BF3DFF86ED}" destId="{84826EB9-C9DC-47E0-834C-788DD6EB37AA}" srcOrd="13" destOrd="0" presId="urn:microsoft.com/office/officeart/2005/8/layout/bProcess3"/>
    <dgm:cxn modelId="{9999E2A9-3C32-4F3C-B61E-35E8B5BF618C}" type="presParOf" srcId="{84826EB9-C9DC-47E0-834C-788DD6EB37AA}" destId="{593B5315-DC1F-4979-AE7D-DC3486A9DCE8}" srcOrd="0" destOrd="0" presId="urn:microsoft.com/office/officeart/2005/8/layout/bProcess3"/>
    <dgm:cxn modelId="{CF3B913E-8697-42BB-A7F3-CDCC9D557C1B}" type="presParOf" srcId="{094F3D87-EFC0-4847-A4F6-08BF3DFF86ED}" destId="{CEF272FC-3279-4C2C-9B57-6B85AA20DD7C}" srcOrd="14"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35CED1E-78B6-401E-8C2B-63DB091C688A}"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GB"/>
        </a:p>
      </dgm:t>
    </dgm:pt>
    <dgm:pt modelId="{B111C046-3EDA-43E1-9643-E7918DB05395}">
      <dgm:prSet phldrT="[Text]"/>
      <dgm:spPr>
        <a:solidFill>
          <a:schemeClr val="accent2"/>
        </a:solidFill>
      </dgm:spPr>
      <dgm:t>
        <a:bodyPr/>
        <a:lstStyle/>
        <a:p>
          <a:r>
            <a:rPr lang="en-GB">
              <a:solidFill>
                <a:schemeClr val="tx1"/>
              </a:solidFill>
            </a:rPr>
            <a:t>AI literacy</a:t>
          </a:r>
        </a:p>
      </dgm:t>
    </dgm:pt>
    <dgm:pt modelId="{FACBADBE-213B-4559-9C5B-D26E8E00B743}" type="parTrans" cxnId="{CD465990-783D-41D3-8338-8666A31CC130}">
      <dgm:prSet/>
      <dgm:spPr/>
      <dgm:t>
        <a:bodyPr/>
        <a:lstStyle/>
        <a:p>
          <a:endParaRPr lang="en-GB"/>
        </a:p>
      </dgm:t>
    </dgm:pt>
    <dgm:pt modelId="{BC7DAF87-F330-4011-B2E0-A721FF22C514}" type="sibTrans" cxnId="{CD465990-783D-41D3-8338-8666A31CC130}">
      <dgm:prSet/>
      <dgm:spPr/>
      <dgm:t>
        <a:bodyPr/>
        <a:lstStyle/>
        <a:p>
          <a:endParaRPr lang="en-GB"/>
        </a:p>
      </dgm:t>
    </dgm:pt>
    <dgm:pt modelId="{FAEEE4B1-366D-4F5A-85D2-9231C4C05AFE}">
      <dgm:prSet phldrT="[Text]"/>
      <dgm:spPr/>
      <dgm:t>
        <a:bodyPr/>
        <a:lstStyle/>
        <a:p>
          <a:r>
            <a:rPr lang="en-GB"/>
            <a:t>Human agency and oversight</a:t>
          </a:r>
        </a:p>
      </dgm:t>
    </dgm:pt>
    <dgm:pt modelId="{26863ECA-361D-4C6C-AA04-C7CC73072A92}" type="parTrans" cxnId="{38A6DD36-70DB-4C8A-957B-3F2D57E0C6DA}">
      <dgm:prSet/>
      <dgm:spPr/>
      <dgm:t>
        <a:bodyPr/>
        <a:lstStyle/>
        <a:p>
          <a:endParaRPr lang="en-GB"/>
        </a:p>
      </dgm:t>
    </dgm:pt>
    <dgm:pt modelId="{CC984EF2-D9CF-43F5-B229-6336E3376494}" type="sibTrans" cxnId="{38A6DD36-70DB-4C8A-957B-3F2D57E0C6DA}">
      <dgm:prSet/>
      <dgm:spPr/>
      <dgm:t>
        <a:bodyPr/>
        <a:lstStyle/>
        <a:p>
          <a:endParaRPr lang="en-GB"/>
        </a:p>
      </dgm:t>
    </dgm:pt>
    <dgm:pt modelId="{E29DBC85-7A1F-4B28-9875-91F2A264E25B}">
      <dgm:prSet phldrT="[Text]"/>
      <dgm:spPr/>
      <dgm:t>
        <a:bodyPr/>
        <a:lstStyle/>
        <a:p>
          <a:r>
            <a:rPr lang="en-GB"/>
            <a:t>Technical robustness and safety</a:t>
          </a:r>
        </a:p>
      </dgm:t>
    </dgm:pt>
    <dgm:pt modelId="{156197E3-F5C5-4213-B623-EF040DA7A8E1}" type="parTrans" cxnId="{FC6E67B1-9F2E-4E6E-89C8-A5474C92F133}">
      <dgm:prSet/>
      <dgm:spPr/>
      <dgm:t>
        <a:bodyPr/>
        <a:lstStyle/>
        <a:p>
          <a:endParaRPr lang="en-GB"/>
        </a:p>
      </dgm:t>
    </dgm:pt>
    <dgm:pt modelId="{3B42588C-62A9-4660-B8D1-3D17920283FD}" type="sibTrans" cxnId="{FC6E67B1-9F2E-4E6E-89C8-A5474C92F133}">
      <dgm:prSet/>
      <dgm:spPr/>
      <dgm:t>
        <a:bodyPr/>
        <a:lstStyle/>
        <a:p>
          <a:endParaRPr lang="en-GB"/>
        </a:p>
      </dgm:t>
    </dgm:pt>
    <dgm:pt modelId="{08BB746F-89CE-43C9-9194-9CEC306A43F8}">
      <dgm:prSet phldrT="[Text]"/>
      <dgm:spPr/>
      <dgm:t>
        <a:bodyPr/>
        <a:lstStyle/>
        <a:p>
          <a:r>
            <a:rPr lang="en-GB"/>
            <a:t>Privacy and data governance</a:t>
          </a:r>
        </a:p>
      </dgm:t>
    </dgm:pt>
    <dgm:pt modelId="{FC93B450-B679-4722-831C-258EB3805DCC}" type="parTrans" cxnId="{F954FB4A-F78E-4859-B7F3-2C04EAE9CA1B}">
      <dgm:prSet/>
      <dgm:spPr/>
      <dgm:t>
        <a:bodyPr/>
        <a:lstStyle/>
        <a:p>
          <a:endParaRPr lang="en-GB"/>
        </a:p>
      </dgm:t>
    </dgm:pt>
    <dgm:pt modelId="{AD6870E3-2D85-46E1-B79E-D32DE720A911}" type="sibTrans" cxnId="{F954FB4A-F78E-4859-B7F3-2C04EAE9CA1B}">
      <dgm:prSet/>
      <dgm:spPr/>
      <dgm:t>
        <a:bodyPr/>
        <a:lstStyle/>
        <a:p>
          <a:endParaRPr lang="en-GB"/>
        </a:p>
      </dgm:t>
    </dgm:pt>
    <dgm:pt modelId="{DF9A87C8-80C1-4732-9C73-E35B942DC2DD}">
      <dgm:prSet phldrT="[Text]"/>
      <dgm:spPr/>
      <dgm:t>
        <a:bodyPr/>
        <a:lstStyle/>
        <a:p>
          <a:r>
            <a:rPr lang="en-GB"/>
            <a:t>Transparency</a:t>
          </a:r>
        </a:p>
      </dgm:t>
    </dgm:pt>
    <dgm:pt modelId="{854D534A-38A4-4841-8155-6E599D223FA2}" type="parTrans" cxnId="{DB460455-A5ED-48C3-B32D-D3DAA1B515BB}">
      <dgm:prSet/>
      <dgm:spPr/>
      <dgm:t>
        <a:bodyPr/>
        <a:lstStyle/>
        <a:p>
          <a:endParaRPr lang="en-GB"/>
        </a:p>
      </dgm:t>
    </dgm:pt>
    <dgm:pt modelId="{EF0FEA28-41F2-432B-866E-1E96818EE4C8}" type="sibTrans" cxnId="{DB460455-A5ED-48C3-B32D-D3DAA1B515BB}">
      <dgm:prSet/>
      <dgm:spPr/>
      <dgm:t>
        <a:bodyPr/>
        <a:lstStyle/>
        <a:p>
          <a:endParaRPr lang="en-GB"/>
        </a:p>
      </dgm:t>
    </dgm:pt>
    <dgm:pt modelId="{68965D15-5FB7-40D6-9022-ED4408B6FC6A}">
      <dgm:prSet phldrT="[Text]"/>
      <dgm:spPr/>
      <dgm:t>
        <a:bodyPr/>
        <a:lstStyle/>
        <a:p>
          <a:r>
            <a:rPr lang="en-GB"/>
            <a:t>Diversity, non-discrimination and fairness</a:t>
          </a:r>
        </a:p>
      </dgm:t>
    </dgm:pt>
    <dgm:pt modelId="{4CB01F5A-B9C9-48A4-AAAB-59644CD47F27}" type="parTrans" cxnId="{0BCF86F6-676C-44DF-BB08-920991A6F0A3}">
      <dgm:prSet/>
      <dgm:spPr/>
      <dgm:t>
        <a:bodyPr/>
        <a:lstStyle/>
        <a:p>
          <a:endParaRPr lang="en-GB"/>
        </a:p>
      </dgm:t>
    </dgm:pt>
    <dgm:pt modelId="{339E1AEB-BAEC-4BC1-82B0-BC5EE0804396}" type="sibTrans" cxnId="{0BCF86F6-676C-44DF-BB08-920991A6F0A3}">
      <dgm:prSet/>
      <dgm:spPr/>
      <dgm:t>
        <a:bodyPr/>
        <a:lstStyle/>
        <a:p>
          <a:endParaRPr lang="en-GB"/>
        </a:p>
      </dgm:t>
    </dgm:pt>
    <dgm:pt modelId="{BB27A01C-9C46-4BF1-9495-2412997631A2}">
      <dgm:prSet phldrT="[Text]"/>
      <dgm:spPr/>
      <dgm:t>
        <a:bodyPr/>
        <a:lstStyle/>
        <a:p>
          <a:r>
            <a:rPr lang="en-GB"/>
            <a:t>Social and environmental wellbeing</a:t>
          </a:r>
        </a:p>
      </dgm:t>
    </dgm:pt>
    <dgm:pt modelId="{ED117B53-4881-4624-A9D7-3D00477E3F86}" type="parTrans" cxnId="{4D019D34-35C8-4575-A47A-FC96AF6F444B}">
      <dgm:prSet/>
      <dgm:spPr/>
      <dgm:t>
        <a:bodyPr/>
        <a:lstStyle/>
        <a:p>
          <a:endParaRPr lang="en-GB"/>
        </a:p>
      </dgm:t>
    </dgm:pt>
    <dgm:pt modelId="{5EF5478F-7250-4B09-AAFF-CD0D50967401}" type="sibTrans" cxnId="{4D019D34-35C8-4575-A47A-FC96AF6F444B}">
      <dgm:prSet/>
      <dgm:spPr/>
      <dgm:t>
        <a:bodyPr/>
        <a:lstStyle/>
        <a:p>
          <a:endParaRPr lang="en-GB"/>
        </a:p>
      </dgm:t>
    </dgm:pt>
    <dgm:pt modelId="{A0991650-C597-4175-9852-8D2FB1ADDF58}" type="pres">
      <dgm:prSet presAssocID="{335CED1E-78B6-401E-8C2B-63DB091C688A}" presName="Name0" presStyleCnt="0">
        <dgm:presLayoutVars>
          <dgm:chMax val="1"/>
          <dgm:chPref val="1"/>
          <dgm:dir/>
          <dgm:animOne val="branch"/>
          <dgm:animLvl val="lvl"/>
        </dgm:presLayoutVars>
      </dgm:prSet>
      <dgm:spPr/>
    </dgm:pt>
    <dgm:pt modelId="{EA675537-EE9F-4325-A94A-1E2E3E7ED0E5}" type="pres">
      <dgm:prSet presAssocID="{B111C046-3EDA-43E1-9643-E7918DB05395}" presName="Parent" presStyleLbl="node0" presStyleIdx="0" presStyleCnt="1">
        <dgm:presLayoutVars>
          <dgm:chMax val="6"/>
          <dgm:chPref val="6"/>
        </dgm:presLayoutVars>
      </dgm:prSet>
      <dgm:spPr/>
    </dgm:pt>
    <dgm:pt modelId="{750FE04C-4119-4523-A42E-81A89DD6D131}" type="pres">
      <dgm:prSet presAssocID="{FAEEE4B1-366D-4F5A-85D2-9231C4C05AFE}" presName="Accent1" presStyleCnt="0"/>
      <dgm:spPr/>
    </dgm:pt>
    <dgm:pt modelId="{D25BD9FD-CF1F-4157-9BAE-A2861D38710D}" type="pres">
      <dgm:prSet presAssocID="{FAEEE4B1-366D-4F5A-85D2-9231C4C05AFE}" presName="Accent" presStyleLbl="bgShp" presStyleIdx="0" presStyleCnt="6"/>
      <dgm:spPr/>
    </dgm:pt>
    <dgm:pt modelId="{C54F31D3-B991-40B1-98B7-D713265EC0E5}" type="pres">
      <dgm:prSet presAssocID="{FAEEE4B1-366D-4F5A-85D2-9231C4C05AFE}" presName="Child1" presStyleLbl="node1" presStyleIdx="0" presStyleCnt="6">
        <dgm:presLayoutVars>
          <dgm:chMax val="0"/>
          <dgm:chPref val="0"/>
          <dgm:bulletEnabled val="1"/>
        </dgm:presLayoutVars>
      </dgm:prSet>
      <dgm:spPr/>
    </dgm:pt>
    <dgm:pt modelId="{83AA3D42-69C6-48E5-9E7C-46163F503411}" type="pres">
      <dgm:prSet presAssocID="{E29DBC85-7A1F-4B28-9875-91F2A264E25B}" presName="Accent2" presStyleCnt="0"/>
      <dgm:spPr/>
    </dgm:pt>
    <dgm:pt modelId="{A1013411-0D1E-480B-9E39-2EB6035FBFDC}" type="pres">
      <dgm:prSet presAssocID="{E29DBC85-7A1F-4B28-9875-91F2A264E25B}" presName="Accent" presStyleLbl="bgShp" presStyleIdx="1" presStyleCnt="6"/>
      <dgm:spPr/>
    </dgm:pt>
    <dgm:pt modelId="{8CF38482-EEE0-470A-B6E9-F62474F91637}" type="pres">
      <dgm:prSet presAssocID="{E29DBC85-7A1F-4B28-9875-91F2A264E25B}" presName="Child2" presStyleLbl="node1" presStyleIdx="1" presStyleCnt="6">
        <dgm:presLayoutVars>
          <dgm:chMax val="0"/>
          <dgm:chPref val="0"/>
          <dgm:bulletEnabled val="1"/>
        </dgm:presLayoutVars>
      </dgm:prSet>
      <dgm:spPr/>
    </dgm:pt>
    <dgm:pt modelId="{1B2FD06B-9BFD-4D44-93E9-8721C1EC6A02}" type="pres">
      <dgm:prSet presAssocID="{08BB746F-89CE-43C9-9194-9CEC306A43F8}" presName="Accent3" presStyleCnt="0"/>
      <dgm:spPr/>
    </dgm:pt>
    <dgm:pt modelId="{ED929CA4-A33D-43FC-A2B6-3F106EA71202}" type="pres">
      <dgm:prSet presAssocID="{08BB746F-89CE-43C9-9194-9CEC306A43F8}" presName="Accent" presStyleLbl="bgShp" presStyleIdx="2" presStyleCnt="6"/>
      <dgm:spPr/>
    </dgm:pt>
    <dgm:pt modelId="{A07C3473-E3A4-415E-9B60-F06CC0039E50}" type="pres">
      <dgm:prSet presAssocID="{08BB746F-89CE-43C9-9194-9CEC306A43F8}" presName="Child3" presStyleLbl="node1" presStyleIdx="2" presStyleCnt="6">
        <dgm:presLayoutVars>
          <dgm:chMax val="0"/>
          <dgm:chPref val="0"/>
          <dgm:bulletEnabled val="1"/>
        </dgm:presLayoutVars>
      </dgm:prSet>
      <dgm:spPr/>
    </dgm:pt>
    <dgm:pt modelId="{12E7A509-290E-4FE5-A9A0-4582AD4482FD}" type="pres">
      <dgm:prSet presAssocID="{DF9A87C8-80C1-4732-9C73-E35B942DC2DD}" presName="Accent4" presStyleCnt="0"/>
      <dgm:spPr/>
    </dgm:pt>
    <dgm:pt modelId="{C6673CBA-8612-4687-8B79-B0EEA1628352}" type="pres">
      <dgm:prSet presAssocID="{DF9A87C8-80C1-4732-9C73-E35B942DC2DD}" presName="Accent" presStyleLbl="bgShp" presStyleIdx="3" presStyleCnt="6"/>
      <dgm:spPr/>
    </dgm:pt>
    <dgm:pt modelId="{A8324443-E7AC-4271-BE01-DCD71B3D3DB3}" type="pres">
      <dgm:prSet presAssocID="{DF9A87C8-80C1-4732-9C73-E35B942DC2DD}" presName="Child4" presStyleLbl="node1" presStyleIdx="3" presStyleCnt="6">
        <dgm:presLayoutVars>
          <dgm:chMax val="0"/>
          <dgm:chPref val="0"/>
          <dgm:bulletEnabled val="1"/>
        </dgm:presLayoutVars>
      </dgm:prSet>
      <dgm:spPr/>
    </dgm:pt>
    <dgm:pt modelId="{8D461EE6-1C00-4832-A669-23AD34944207}" type="pres">
      <dgm:prSet presAssocID="{68965D15-5FB7-40D6-9022-ED4408B6FC6A}" presName="Accent5" presStyleCnt="0"/>
      <dgm:spPr/>
    </dgm:pt>
    <dgm:pt modelId="{F4BFC198-889A-4E24-8D06-1CE2F562C13E}" type="pres">
      <dgm:prSet presAssocID="{68965D15-5FB7-40D6-9022-ED4408B6FC6A}" presName="Accent" presStyleLbl="bgShp" presStyleIdx="4" presStyleCnt="6"/>
      <dgm:spPr/>
    </dgm:pt>
    <dgm:pt modelId="{9ADFFACE-723E-411F-89AF-78B4144D6319}" type="pres">
      <dgm:prSet presAssocID="{68965D15-5FB7-40D6-9022-ED4408B6FC6A}" presName="Child5" presStyleLbl="node1" presStyleIdx="4" presStyleCnt="6">
        <dgm:presLayoutVars>
          <dgm:chMax val="0"/>
          <dgm:chPref val="0"/>
          <dgm:bulletEnabled val="1"/>
        </dgm:presLayoutVars>
      </dgm:prSet>
      <dgm:spPr/>
    </dgm:pt>
    <dgm:pt modelId="{CCF697FF-9B06-407F-A8DB-48D4A9AD855E}" type="pres">
      <dgm:prSet presAssocID="{BB27A01C-9C46-4BF1-9495-2412997631A2}" presName="Accent6" presStyleCnt="0"/>
      <dgm:spPr/>
    </dgm:pt>
    <dgm:pt modelId="{9A8B048F-8B5F-4806-B131-F4F5AEF3322B}" type="pres">
      <dgm:prSet presAssocID="{BB27A01C-9C46-4BF1-9495-2412997631A2}" presName="Accent" presStyleLbl="bgShp" presStyleIdx="5" presStyleCnt="6"/>
      <dgm:spPr/>
    </dgm:pt>
    <dgm:pt modelId="{CE63770C-0F6D-4683-BDB9-2A98E56166AE}" type="pres">
      <dgm:prSet presAssocID="{BB27A01C-9C46-4BF1-9495-2412997631A2}" presName="Child6" presStyleLbl="node1" presStyleIdx="5" presStyleCnt="6">
        <dgm:presLayoutVars>
          <dgm:chMax val="0"/>
          <dgm:chPref val="0"/>
          <dgm:bulletEnabled val="1"/>
        </dgm:presLayoutVars>
      </dgm:prSet>
      <dgm:spPr/>
    </dgm:pt>
  </dgm:ptLst>
  <dgm:cxnLst>
    <dgm:cxn modelId="{0CCC8014-680B-4555-8D52-5EBB0FAACB59}" type="presOf" srcId="{08BB746F-89CE-43C9-9194-9CEC306A43F8}" destId="{A07C3473-E3A4-415E-9B60-F06CC0039E50}" srcOrd="0" destOrd="0" presId="urn:microsoft.com/office/officeart/2011/layout/HexagonRadial"/>
    <dgm:cxn modelId="{4D019D34-35C8-4575-A47A-FC96AF6F444B}" srcId="{B111C046-3EDA-43E1-9643-E7918DB05395}" destId="{BB27A01C-9C46-4BF1-9495-2412997631A2}" srcOrd="5" destOrd="0" parTransId="{ED117B53-4881-4624-A9D7-3D00477E3F86}" sibTransId="{5EF5478F-7250-4B09-AAFF-CD0D50967401}"/>
    <dgm:cxn modelId="{38A6DD36-70DB-4C8A-957B-3F2D57E0C6DA}" srcId="{B111C046-3EDA-43E1-9643-E7918DB05395}" destId="{FAEEE4B1-366D-4F5A-85D2-9231C4C05AFE}" srcOrd="0" destOrd="0" parTransId="{26863ECA-361D-4C6C-AA04-C7CC73072A92}" sibTransId="{CC984EF2-D9CF-43F5-B229-6336E3376494}"/>
    <dgm:cxn modelId="{2AF8A047-8A80-4B12-9818-A754874B2818}" type="presOf" srcId="{DF9A87C8-80C1-4732-9C73-E35B942DC2DD}" destId="{A8324443-E7AC-4271-BE01-DCD71B3D3DB3}" srcOrd="0" destOrd="0" presId="urn:microsoft.com/office/officeart/2011/layout/HexagonRadial"/>
    <dgm:cxn modelId="{AE4F4468-079C-405B-A8D6-2A34E3365462}" type="presOf" srcId="{FAEEE4B1-366D-4F5A-85D2-9231C4C05AFE}" destId="{C54F31D3-B991-40B1-98B7-D713265EC0E5}" srcOrd="0" destOrd="0" presId="urn:microsoft.com/office/officeart/2011/layout/HexagonRadial"/>
    <dgm:cxn modelId="{F954FB4A-F78E-4859-B7F3-2C04EAE9CA1B}" srcId="{B111C046-3EDA-43E1-9643-E7918DB05395}" destId="{08BB746F-89CE-43C9-9194-9CEC306A43F8}" srcOrd="2" destOrd="0" parTransId="{FC93B450-B679-4722-831C-258EB3805DCC}" sibTransId="{AD6870E3-2D85-46E1-B79E-D32DE720A911}"/>
    <dgm:cxn modelId="{DB460455-A5ED-48C3-B32D-D3DAA1B515BB}" srcId="{B111C046-3EDA-43E1-9643-E7918DB05395}" destId="{DF9A87C8-80C1-4732-9C73-E35B942DC2DD}" srcOrd="3" destOrd="0" parTransId="{854D534A-38A4-4841-8155-6E599D223FA2}" sibTransId="{EF0FEA28-41F2-432B-866E-1E96818EE4C8}"/>
    <dgm:cxn modelId="{69B50376-426A-4AAF-806A-F5760BAF1838}" type="presOf" srcId="{E29DBC85-7A1F-4B28-9875-91F2A264E25B}" destId="{8CF38482-EEE0-470A-B6E9-F62474F91637}" srcOrd="0" destOrd="0" presId="urn:microsoft.com/office/officeart/2011/layout/HexagonRadial"/>
    <dgm:cxn modelId="{B7555D7B-BBF0-44F1-95D5-42B8493AB10D}" type="presOf" srcId="{B111C046-3EDA-43E1-9643-E7918DB05395}" destId="{EA675537-EE9F-4325-A94A-1E2E3E7ED0E5}" srcOrd="0" destOrd="0" presId="urn:microsoft.com/office/officeart/2011/layout/HexagonRadial"/>
    <dgm:cxn modelId="{A86B347C-13A9-415D-8067-FBBDE6AEB2B0}" type="presOf" srcId="{BB27A01C-9C46-4BF1-9495-2412997631A2}" destId="{CE63770C-0F6D-4683-BDB9-2A98E56166AE}" srcOrd="0" destOrd="0" presId="urn:microsoft.com/office/officeart/2011/layout/HexagonRadial"/>
    <dgm:cxn modelId="{CD465990-783D-41D3-8338-8666A31CC130}" srcId="{335CED1E-78B6-401E-8C2B-63DB091C688A}" destId="{B111C046-3EDA-43E1-9643-E7918DB05395}" srcOrd="0" destOrd="0" parTransId="{FACBADBE-213B-4559-9C5B-D26E8E00B743}" sibTransId="{BC7DAF87-F330-4011-B2E0-A721FF22C514}"/>
    <dgm:cxn modelId="{FC6E67B1-9F2E-4E6E-89C8-A5474C92F133}" srcId="{B111C046-3EDA-43E1-9643-E7918DB05395}" destId="{E29DBC85-7A1F-4B28-9875-91F2A264E25B}" srcOrd="1" destOrd="0" parTransId="{156197E3-F5C5-4213-B623-EF040DA7A8E1}" sibTransId="{3B42588C-62A9-4660-B8D1-3D17920283FD}"/>
    <dgm:cxn modelId="{9355ACBD-8338-40EE-8EEE-215571E4FC04}" type="presOf" srcId="{335CED1E-78B6-401E-8C2B-63DB091C688A}" destId="{A0991650-C597-4175-9852-8D2FB1ADDF58}" srcOrd="0" destOrd="0" presId="urn:microsoft.com/office/officeart/2011/layout/HexagonRadial"/>
    <dgm:cxn modelId="{77CF91C4-02EF-4FDC-AD41-00CCB8E79400}" type="presOf" srcId="{68965D15-5FB7-40D6-9022-ED4408B6FC6A}" destId="{9ADFFACE-723E-411F-89AF-78B4144D6319}" srcOrd="0" destOrd="0" presId="urn:microsoft.com/office/officeart/2011/layout/HexagonRadial"/>
    <dgm:cxn modelId="{0BCF86F6-676C-44DF-BB08-920991A6F0A3}" srcId="{B111C046-3EDA-43E1-9643-E7918DB05395}" destId="{68965D15-5FB7-40D6-9022-ED4408B6FC6A}" srcOrd="4" destOrd="0" parTransId="{4CB01F5A-B9C9-48A4-AAAB-59644CD47F27}" sibTransId="{339E1AEB-BAEC-4BC1-82B0-BC5EE0804396}"/>
    <dgm:cxn modelId="{EF85070F-D4E8-42E5-980A-A3FB4F9B8E0F}" type="presParOf" srcId="{A0991650-C597-4175-9852-8D2FB1ADDF58}" destId="{EA675537-EE9F-4325-A94A-1E2E3E7ED0E5}" srcOrd="0" destOrd="0" presId="urn:microsoft.com/office/officeart/2011/layout/HexagonRadial"/>
    <dgm:cxn modelId="{E5EBF3C5-0989-4F01-90A1-3151D14EE41F}" type="presParOf" srcId="{A0991650-C597-4175-9852-8D2FB1ADDF58}" destId="{750FE04C-4119-4523-A42E-81A89DD6D131}" srcOrd="1" destOrd="0" presId="urn:microsoft.com/office/officeart/2011/layout/HexagonRadial"/>
    <dgm:cxn modelId="{3AF32231-378C-47F0-A1A9-84E5D95C2483}" type="presParOf" srcId="{750FE04C-4119-4523-A42E-81A89DD6D131}" destId="{D25BD9FD-CF1F-4157-9BAE-A2861D38710D}" srcOrd="0" destOrd="0" presId="urn:microsoft.com/office/officeart/2011/layout/HexagonRadial"/>
    <dgm:cxn modelId="{A54C8B37-CBFB-4204-9E12-3D74AFEE0494}" type="presParOf" srcId="{A0991650-C597-4175-9852-8D2FB1ADDF58}" destId="{C54F31D3-B991-40B1-98B7-D713265EC0E5}" srcOrd="2" destOrd="0" presId="urn:microsoft.com/office/officeart/2011/layout/HexagonRadial"/>
    <dgm:cxn modelId="{B161F6F2-C70A-4F4F-8F69-D1D51B0BA74C}" type="presParOf" srcId="{A0991650-C597-4175-9852-8D2FB1ADDF58}" destId="{83AA3D42-69C6-48E5-9E7C-46163F503411}" srcOrd="3" destOrd="0" presId="urn:microsoft.com/office/officeart/2011/layout/HexagonRadial"/>
    <dgm:cxn modelId="{053DCC80-2E47-4B33-9F15-F9A8B13FE6B1}" type="presParOf" srcId="{83AA3D42-69C6-48E5-9E7C-46163F503411}" destId="{A1013411-0D1E-480B-9E39-2EB6035FBFDC}" srcOrd="0" destOrd="0" presId="urn:microsoft.com/office/officeart/2011/layout/HexagonRadial"/>
    <dgm:cxn modelId="{BBEDC680-22F9-4004-9E79-EC4BF8A1C970}" type="presParOf" srcId="{A0991650-C597-4175-9852-8D2FB1ADDF58}" destId="{8CF38482-EEE0-470A-B6E9-F62474F91637}" srcOrd="4" destOrd="0" presId="urn:microsoft.com/office/officeart/2011/layout/HexagonRadial"/>
    <dgm:cxn modelId="{C45C8A15-E084-45EA-A099-ED9448399D0E}" type="presParOf" srcId="{A0991650-C597-4175-9852-8D2FB1ADDF58}" destId="{1B2FD06B-9BFD-4D44-93E9-8721C1EC6A02}" srcOrd="5" destOrd="0" presId="urn:microsoft.com/office/officeart/2011/layout/HexagonRadial"/>
    <dgm:cxn modelId="{C9E8A17F-7B87-40EC-AB1D-1A630E1FFB4C}" type="presParOf" srcId="{1B2FD06B-9BFD-4D44-93E9-8721C1EC6A02}" destId="{ED929CA4-A33D-43FC-A2B6-3F106EA71202}" srcOrd="0" destOrd="0" presId="urn:microsoft.com/office/officeart/2011/layout/HexagonRadial"/>
    <dgm:cxn modelId="{B3507895-D5F4-43CE-BD7D-58601F1A984C}" type="presParOf" srcId="{A0991650-C597-4175-9852-8D2FB1ADDF58}" destId="{A07C3473-E3A4-415E-9B60-F06CC0039E50}" srcOrd="6" destOrd="0" presId="urn:microsoft.com/office/officeart/2011/layout/HexagonRadial"/>
    <dgm:cxn modelId="{32B5BE66-66B3-42BA-B8AC-89EB626228D0}" type="presParOf" srcId="{A0991650-C597-4175-9852-8D2FB1ADDF58}" destId="{12E7A509-290E-4FE5-A9A0-4582AD4482FD}" srcOrd="7" destOrd="0" presId="urn:microsoft.com/office/officeart/2011/layout/HexagonRadial"/>
    <dgm:cxn modelId="{A7215082-4DAC-46BF-9013-E068EFEADFC2}" type="presParOf" srcId="{12E7A509-290E-4FE5-A9A0-4582AD4482FD}" destId="{C6673CBA-8612-4687-8B79-B0EEA1628352}" srcOrd="0" destOrd="0" presId="urn:microsoft.com/office/officeart/2011/layout/HexagonRadial"/>
    <dgm:cxn modelId="{C3A5AAF9-BB51-4BA3-BE85-19A234E2F5BD}" type="presParOf" srcId="{A0991650-C597-4175-9852-8D2FB1ADDF58}" destId="{A8324443-E7AC-4271-BE01-DCD71B3D3DB3}" srcOrd="8" destOrd="0" presId="urn:microsoft.com/office/officeart/2011/layout/HexagonRadial"/>
    <dgm:cxn modelId="{B0EBDB8E-AE2E-4403-81ED-39CB3C81C4B3}" type="presParOf" srcId="{A0991650-C597-4175-9852-8D2FB1ADDF58}" destId="{8D461EE6-1C00-4832-A669-23AD34944207}" srcOrd="9" destOrd="0" presId="urn:microsoft.com/office/officeart/2011/layout/HexagonRadial"/>
    <dgm:cxn modelId="{40DF6451-2D7B-42C2-9DFE-F627C64B7AC2}" type="presParOf" srcId="{8D461EE6-1C00-4832-A669-23AD34944207}" destId="{F4BFC198-889A-4E24-8D06-1CE2F562C13E}" srcOrd="0" destOrd="0" presId="urn:microsoft.com/office/officeart/2011/layout/HexagonRadial"/>
    <dgm:cxn modelId="{D2253323-28C3-4669-9A49-80B6935B003F}" type="presParOf" srcId="{A0991650-C597-4175-9852-8D2FB1ADDF58}" destId="{9ADFFACE-723E-411F-89AF-78B4144D6319}" srcOrd="10" destOrd="0" presId="urn:microsoft.com/office/officeart/2011/layout/HexagonRadial"/>
    <dgm:cxn modelId="{9557B8FB-0F52-463D-B2FC-6E1DA08AB5E3}" type="presParOf" srcId="{A0991650-C597-4175-9852-8D2FB1ADDF58}" destId="{CCF697FF-9B06-407F-A8DB-48D4A9AD855E}" srcOrd="11" destOrd="0" presId="urn:microsoft.com/office/officeart/2011/layout/HexagonRadial"/>
    <dgm:cxn modelId="{1641097C-AD71-4BFC-9809-237FF2B0A7A7}" type="presParOf" srcId="{CCF697FF-9B06-407F-A8DB-48D4A9AD855E}" destId="{9A8B048F-8B5F-4806-B131-F4F5AEF3322B}" srcOrd="0" destOrd="0" presId="urn:microsoft.com/office/officeart/2011/layout/HexagonRadial"/>
    <dgm:cxn modelId="{74666E76-8C17-4F71-868A-F502554A26BC}" type="presParOf" srcId="{A0991650-C597-4175-9852-8D2FB1ADDF58}" destId="{CE63770C-0F6D-4683-BDB9-2A98E56166AE}"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D6B8D92-217E-4A5E-A1DC-EE838367A1C4}" type="doc">
      <dgm:prSet loTypeId="urn:microsoft.com/office/officeart/2005/8/layout/vList2" loCatId="list" qsTypeId="urn:microsoft.com/office/officeart/2005/8/quickstyle/simple1" qsCatId="simple" csTypeId="urn:microsoft.com/office/officeart/2005/8/colors/accent2_1" csCatId="accent2" phldr="1"/>
      <dgm:spPr/>
      <dgm:t>
        <a:bodyPr/>
        <a:lstStyle/>
        <a:p>
          <a:endParaRPr lang="en-GB"/>
        </a:p>
      </dgm:t>
    </dgm:pt>
    <dgm:pt modelId="{8D4CB837-5609-40CD-AB44-F9374F5E9984}">
      <dgm:prSet custT="1">
        <dgm:style>
          <a:lnRef idx="2">
            <a:schemeClr val="dk1">
              <a:shade val="50000"/>
            </a:schemeClr>
          </a:lnRef>
          <a:fillRef idx="1">
            <a:schemeClr val="dk1"/>
          </a:fillRef>
          <a:effectRef idx="0">
            <a:schemeClr val="dk1"/>
          </a:effectRef>
          <a:fontRef idx="minor">
            <a:schemeClr val="lt1"/>
          </a:fontRef>
        </dgm:style>
      </dgm:prSet>
      <dgm:spPr>
        <a:solidFill>
          <a:schemeClr val="bg1">
            <a:lumMod val="50000"/>
          </a:schemeClr>
        </a:solidFill>
        <a:ln>
          <a:solidFill>
            <a:schemeClr val="bg2">
              <a:lumMod val="25000"/>
            </a:schemeClr>
          </a:solidFill>
        </a:ln>
      </dgm:spPr>
      <dgm:t>
        <a:bodyPr/>
        <a:lstStyle/>
        <a:p>
          <a:pPr algn="ctr"/>
          <a:r>
            <a:rPr lang="en-GB" sz="1800">
              <a:solidFill>
                <a:schemeClr val="bg1"/>
              </a:solidFill>
            </a:rPr>
            <a:t>The AI System is a safety component of products/products themselves governed by the Union Harmonisation Legislation </a:t>
          </a:r>
        </a:p>
      </dgm:t>
    </dgm:pt>
    <dgm:pt modelId="{AA063D16-F1B6-4D23-9D75-3A88068BD35C}" type="parTrans" cxnId="{E6EB7133-FD46-4CE6-A8BE-C1C6427B7B8E}">
      <dgm:prSet/>
      <dgm:spPr/>
      <dgm:t>
        <a:bodyPr/>
        <a:lstStyle/>
        <a:p>
          <a:endParaRPr lang="en-GB" sz="1400"/>
        </a:p>
      </dgm:t>
    </dgm:pt>
    <dgm:pt modelId="{3ADFA1E4-D306-44FB-A8F2-F7C910C76843}" type="sibTrans" cxnId="{E6EB7133-FD46-4CE6-A8BE-C1C6427B7B8E}">
      <dgm:prSet/>
      <dgm:spPr/>
      <dgm:t>
        <a:bodyPr/>
        <a:lstStyle/>
        <a:p>
          <a:endParaRPr lang="en-GB" sz="1400"/>
        </a:p>
      </dgm:t>
    </dgm:pt>
    <dgm:pt modelId="{1861CE12-7FD8-44A5-B56F-1F501674C110}" type="pres">
      <dgm:prSet presAssocID="{BD6B8D92-217E-4A5E-A1DC-EE838367A1C4}" presName="linear" presStyleCnt="0">
        <dgm:presLayoutVars>
          <dgm:animLvl val="lvl"/>
          <dgm:resizeHandles val="exact"/>
        </dgm:presLayoutVars>
      </dgm:prSet>
      <dgm:spPr/>
    </dgm:pt>
    <dgm:pt modelId="{7AAD28B2-5ACE-4ACB-8845-ABADBDC3CB82}" type="pres">
      <dgm:prSet presAssocID="{8D4CB837-5609-40CD-AB44-F9374F5E9984}" presName="parentText" presStyleLbl="node1" presStyleIdx="0" presStyleCnt="1">
        <dgm:presLayoutVars>
          <dgm:chMax val="0"/>
          <dgm:bulletEnabled val="1"/>
        </dgm:presLayoutVars>
      </dgm:prSet>
      <dgm:spPr/>
    </dgm:pt>
  </dgm:ptLst>
  <dgm:cxnLst>
    <dgm:cxn modelId="{E6EB7133-FD46-4CE6-A8BE-C1C6427B7B8E}" srcId="{BD6B8D92-217E-4A5E-A1DC-EE838367A1C4}" destId="{8D4CB837-5609-40CD-AB44-F9374F5E9984}" srcOrd="0" destOrd="0" parTransId="{AA063D16-F1B6-4D23-9D75-3A88068BD35C}" sibTransId="{3ADFA1E4-D306-44FB-A8F2-F7C910C76843}"/>
    <dgm:cxn modelId="{3074403D-F945-438D-860D-8E3766988777}" type="presOf" srcId="{8D4CB837-5609-40CD-AB44-F9374F5E9984}" destId="{7AAD28B2-5ACE-4ACB-8845-ABADBDC3CB82}" srcOrd="0" destOrd="0" presId="urn:microsoft.com/office/officeart/2005/8/layout/vList2"/>
    <dgm:cxn modelId="{96C2C9DB-B14A-4AD0-B913-DE0D3A48E5E3}" type="presOf" srcId="{BD6B8D92-217E-4A5E-A1DC-EE838367A1C4}" destId="{1861CE12-7FD8-44A5-B56F-1F501674C110}" srcOrd="0" destOrd="0" presId="urn:microsoft.com/office/officeart/2005/8/layout/vList2"/>
    <dgm:cxn modelId="{0B4D8EE4-56E8-4921-B0F4-2C2438718BCC}" type="presParOf" srcId="{1861CE12-7FD8-44A5-B56F-1F501674C110}" destId="{7AAD28B2-5ACE-4ACB-8845-ABADBDC3CB82}"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5505CB7-BEBD-49B2-A696-B21824177CD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GB"/>
        </a:p>
      </dgm:t>
    </dgm:pt>
    <dgm:pt modelId="{2B3886ED-90E2-4951-9670-F94E43BDEFD7}">
      <dgm:prSet/>
      <dgm:spPr/>
      <dgm:t>
        <a:bodyPr/>
        <a:lstStyle/>
        <a:p>
          <a:pPr algn="ctr"/>
          <a:r>
            <a:rPr lang="en-GB"/>
            <a:t>Risk Management</a:t>
          </a:r>
        </a:p>
      </dgm:t>
    </dgm:pt>
    <dgm:pt modelId="{989A2BF3-1567-40E9-A2FE-6E313CA5A54E}" type="parTrans" cxnId="{F0EBFA8A-CCB7-45C4-AE14-B1C756BF3B9B}">
      <dgm:prSet/>
      <dgm:spPr/>
      <dgm:t>
        <a:bodyPr/>
        <a:lstStyle/>
        <a:p>
          <a:endParaRPr lang="en-GB"/>
        </a:p>
      </dgm:t>
    </dgm:pt>
    <dgm:pt modelId="{A2AE4F84-AF7D-40CF-AE84-5725D8365754}" type="sibTrans" cxnId="{F0EBFA8A-CCB7-45C4-AE14-B1C756BF3B9B}">
      <dgm:prSet/>
      <dgm:spPr/>
      <dgm:t>
        <a:bodyPr/>
        <a:lstStyle/>
        <a:p>
          <a:endParaRPr lang="en-GB"/>
        </a:p>
      </dgm:t>
    </dgm:pt>
    <dgm:pt modelId="{57A119C4-754D-4C8A-9ACA-0E641CF0C156}">
      <dgm:prSet/>
      <dgm:spPr/>
      <dgm:t>
        <a:bodyPr/>
        <a:lstStyle/>
        <a:p>
          <a:pPr algn="ctr"/>
          <a:r>
            <a:rPr lang="en-GB"/>
            <a:t>High Quality Data Sets and Data Governance</a:t>
          </a:r>
        </a:p>
      </dgm:t>
    </dgm:pt>
    <dgm:pt modelId="{953B9831-FDDC-4BF8-8F5A-3F695E6D7A12}" type="parTrans" cxnId="{4CC33C15-9A52-4C8C-9DFD-EF7B1EACD00E}">
      <dgm:prSet/>
      <dgm:spPr/>
      <dgm:t>
        <a:bodyPr/>
        <a:lstStyle/>
        <a:p>
          <a:endParaRPr lang="en-GB"/>
        </a:p>
      </dgm:t>
    </dgm:pt>
    <dgm:pt modelId="{1A53A35B-1DC0-46FE-BFC8-BCA1076A38DF}" type="sibTrans" cxnId="{4CC33C15-9A52-4C8C-9DFD-EF7B1EACD00E}">
      <dgm:prSet/>
      <dgm:spPr/>
      <dgm:t>
        <a:bodyPr/>
        <a:lstStyle/>
        <a:p>
          <a:endParaRPr lang="en-GB"/>
        </a:p>
      </dgm:t>
    </dgm:pt>
    <dgm:pt modelId="{4F21903D-2B3F-4F11-ABD3-2C53FF5C15D4}">
      <dgm:prSet/>
      <dgm:spPr/>
      <dgm:t>
        <a:bodyPr/>
        <a:lstStyle/>
        <a:p>
          <a:pPr algn="ctr"/>
          <a:r>
            <a:rPr lang="en-GB"/>
            <a:t>Technical Documentation </a:t>
          </a:r>
        </a:p>
      </dgm:t>
    </dgm:pt>
    <dgm:pt modelId="{318D07BE-C4AB-46B1-9C9A-B7DAAD83B7BC}" type="parTrans" cxnId="{38EA6FB1-3F7D-4CD1-9ACC-0D0AA85646E5}">
      <dgm:prSet/>
      <dgm:spPr/>
      <dgm:t>
        <a:bodyPr/>
        <a:lstStyle/>
        <a:p>
          <a:endParaRPr lang="en-GB"/>
        </a:p>
      </dgm:t>
    </dgm:pt>
    <dgm:pt modelId="{D2D943EE-2A5C-49EA-A5F9-BCE56AFD2CE0}" type="sibTrans" cxnId="{38EA6FB1-3F7D-4CD1-9ACC-0D0AA85646E5}">
      <dgm:prSet/>
      <dgm:spPr/>
      <dgm:t>
        <a:bodyPr/>
        <a:lstStyle/>
        <a:p>
          <a:endParaRPr lang="en-GB"/>
        </a:p>
      </dgm:t>
    </dgm:pt>
    <dgm:pt modelId="{027AC91A-1A83-42D1-9AC0-9A178DF154DC}">
      <dgm:prSet/>
      <dgm:spPr/>
      <dgm:t>
        <a:bodyPr/>
        <a:lstStyle/>
        <a:p>
          <a:pPr algn="ctr"/>
          <a:r>
            <a:rPr lang="en-GB"/>
            <a:t>Record Keeping</a:t>
          </a:r>
        </a:p>
      </dgm:t>
    </dgm:pt>
    <dgm:pt modelId="{270EE9CD-6861-440E-BBFF-145852E5FB64}" type="parTrans" cxnId="{24D974EB-3707-4DF5-8A21-8B8B6DD74701}">
      <dgm:prSet/>
      <dgm:spPr/>
      <dgm:t>
        <a:bodyPr/>
        <a:lstStyle/>
        <a:p>
          <a:endParaRPr lang="en-GB"/>
        </a:p>
      </dgm:t>
    </dgm:pt>
    <dgm:pt modelId="{9715E760-B4BB-4D7E-8921-0BCEB1E913A1}" type="sibTrans" cxnId="{24D974EB-3707-4DF5-8A21-8B8B6DD74701}">
      <dgm:prSet/>
      <dgm:spPr/>
      <dgm:t>
        <a:bodyPr/>
        <a:lstStyle/>
        <a:p>
          <a:endParaRPr lang="en-GB"/>
        </a:p>
      </dgm:t>
    </dgm:pt>
    <dgm:pt modelId="{0480EA10-CC46-48D3-983E-B76ADE48769C}">
      <dgm:prSet/>
      <dgm:spPr/>
      <dgm:t>
        <a:bodyPr/>
        <a:lstStyle/>
        <a:p>
          <a:pPr algn="ctr"/>
          <a:r>
            <a:rPr lang="en-GB"/>
            <a:t>Transparency by Design </a:t>
          </a:r>
        </a:p>
      </dgm:t>
    </dgm:pt>
    <dgm:pt modelId="{88089E51-0DE1-46B1-AA67-F2FC55525BB2}" type="parTrans" cxnId="{70FEF559-A661-4FA2-9A4F-EB088734AFB6}">
      <dgm:prSet/>
      <dgm:spPr/>
      <dgm:t>
        <a:bodyPr/>
        <a:lstStyle/>
        <a:p>
          <a:endParaRPr lang="en-GB"/>
        </a:p>
      </dgm:t>
    </dgm:pt>
    <dgm:pt modelId="{3FD26D9D-EC2A-4A0F-98AB-A1A8C6C84F95}" type="sibTrans" cxnId="{70FEF559-A661-4FA2-9A4F-EB088734AFB6}">
      <dgm:prSet/>
      <dgm:spPr/>
      <dgm:t>
        <a:bodyPr/>
        <a:lstStyle/>
        <a:p>
          <a:endParaRPr lang="en-GB"/>
        </a:p>
      </dgm:t>
    </dgm:pt>
    <dgm:pt modelId="{A9BEAD12-2DC7-4971-B66E-C486E351EB8A}">
      <dgm:prSet/>
      <dgm:spPr/>
      <dgm:t>
        <a:bodyPr/>
        <a:lstStyle/>
        <a:p>
          <a:pPr algn="ctr"/>
          <a:r>
            <a:rPr lang="en-GB"/>
            <a:t>Human Oversight</a:t>
          </a:r>
        </a:p>
      </dgm:t>
    </dgm:pt>
    <dgm:pt modelId="{DD270D4A-7DAC-4AF6-AE07-73A5C1E45DD9}" type="parTrans" cxnId="{5761B8C8-5E82-4CBD-8B52-5FDAEBD745FC}">
      <dgm:prSet/>
      <dgm:spPr/>
      <dgm:t>
        <a:bodyPr/>
        <a:lstStyle/>
        <a:p>
          <a:endParaRPr lang="en-GB"/>
        </a:p>
      </dgm:t>
    </dgm:pt>
    <dgm:pt modelId="{8DA0EB94-EB16-4A3D-9433-AEE35FA37D73}" type="sibTrans" cxnId="{5761B8C8-5E82-4CBD-8B52-5FDAEBD745FC}">
      <dgm:prSet/>
      <dgm:spPr/>
      <dgm:t>
        <a:bodyPr/>
        <a:lstStyle/>
        <a:p>
          <a:endParaRPr lang="en-GB"/>
        </a:p>
      </dgm:t>
    </dgm:pt>
    <dgm:pt modelId="{0B813DDA-6D0E-4400-B7DF-B09450FBFA17}">
      <dgm:prSet/>
      <dgm:spPr/>
      <dgm:t>
        <a:bodyPr/>
        <a:lstStyle/>
        <a:p>
          <a:pPr algn="ctr"/>
          <a:r>
            <a:rPr lang="en-GB"/>
            <a:t>Accuracy, Robustness and security </a:t>
          </a:r>
        </a:p>
      </dgm:t>
    </dgm:pt>
    <dgm:pt modelId="{C68750B0-0EAC-479C-B18E-B27B89941D8A}" type="parTrans" cxnId="{B95B2449-8DD7-425F-A533-FD585D5812AB}">
      <dgm:prSet/>
      <dgm:spPr/>
      <dgm:t>
        <a:bodyPr/>
        <a:lstStyle/>
        <a:p>
          <a:endParaRPr lang="en-GB"/>
        </a:p>
      </dgm:t>
    </dgm:pt>
    <dgm:pt modelId="{8D01286C-C605-47BC-B359-D64B39DF041D}" type="sibTrans" cxnId="{B95B2449-8DD7-425F-A533-FD585D5812AB}">
      <dgm:prSet/>
      <dgm:spPr/>
      <dgm:t>
        <a:bodyPr/>
        <a:lstStyle/>
        <a:p>
          <a:endParaRPr lang="en-GB"/>
        </a:p>
      </dgm:t>
    </dgm:pt>
    <dgm:pt modelId="{DA78E416-3E33-4719-8500-EC44D3DEB9E9}" type="pres">
      <dgm:prSet presAssocID="{95505CB7-BEBD-49B2-A696-B21824177CDB}" presName="linear" presStyleCnt="0">
        <dgm:presLayoutVars>
          <dgm:animLvl val="lvl"/>
          <dgm:resizeHandles val="exact"/>
        </dgm:presLayoutVars>
      </dgm:prSet>
      <dgm:spPr/>
    </dgm:pt>
    <dgm:pt modelId="{BA5A242F-CD08-4081-A2A3-E93BFF7CEFFA}" type="pres">
      <dgm:prSet presAssocID="{2B3886ED-90E2-4951-9670-F94E43BDEFD7}" presName="parentText" presStyleLbl="node1" presStyleIdx="0" presStyleCnt="7">
        <dgm:presLayoutVars>
          <dgm:chMax val="0"/>
          <dgm:bulletEnabled val="1"/>
        </dgm:presLayoutVars>
      </dgm:prSet>
      <dgm:spPr/>
    </dgm:pt>
    <dgm:pt modelId="{2D172873-F413-4ADA-ABEC-53EB510DDBEA}" type="pres">
      <dgm:prSet presAssocID="{A2AE4F84-AF7D-40CF-AE84-5725D8365754}" presName="spacer" presStyleCnt="0"/>
      <dgm:spPr/>
    </dgm:pt>
    <dgm:pt modelId="{F6C61AB1-B3E7-4548-A7A6-248161373AC3}" type="pres">
      <dgm:prSet presAssocID="{57A119C4-754D-4C8A-9ACA-0E641CF0C156}" presName="parentText" presStyleLbl="node1" presStyleIdx="1" presStyleCnt="7">
        <dgm:presLayoutVars>
          <dgm:chMax val="0"/>
          <dgm:bulletEnabled val="1"/>
        </dgm:presLayoutVars>
      </dgm:prSet>
      <dgm:spPr/>
    </dgm:pt>
    <dgm:pt modelId="{09A8E13A-D29B-413C-B9E0-381A156CD7D5}" type="pres">
      <dgm:prSet presAssocID="{1A53A35B-1DC0-46FE-BFC8-BCA1076A38DF}" presName="spacer" presStyleCnt="0"/>
      <dgm:spPr/>
    </dgm:pt>
    <dgm:pt modelId="{317889F2-3518-4393-94F8-6620D30E3221}" type="pres">
      <dgm:prSet presAssocID="{4F21903D-2B3F-4F11-ABD3-2C53FF5C15D4}" presName="parentText" presStyleLbl="node1" presStyleIdx="2" presStyleCnt="7">
        <dgm:presLayoutVars>
          <dgm:chMax val="0"/>
          <dgm:bulletEnabled val="1"/>
        </dgm:presLayoutVars>
      </dgm:prSet>
      <dgm:spPr/>
    </dgm:pt>
    <dgm:pt modelId="{E539CEAC-3E75-4DE7-9C4B-942FCB105020}" type="pres">
      <dgm:prSet presAssocID="{D2D943EE-2A5C-49EA-A5F9-BCE56AFD2CE0}" presName="spacer" presStyleCnt="0"/>
      <dgm:spPr/>
    </dgm:pt>
    <dgm:pt modelId="{5DF0AE3B-5F3D-4206-A04E-F558BE0D5763}" type="pres">
      <dgm:prSet presAssocID="{027AC91A-1A83-42D1-9AC0-9A178DF154DC}" presName="parentText" presStyleLbl="node1" presStyleIdx="3" presStyleCnt="7">
        <dgm:presLayoutVars>
          <dgm:chMax val="0"/>
          <dgm:bulletEnabled val="1"/>
        </dgm:presLayoutVars>
      </dgm:prSet>
      <dgm:spPr/>
    </dgm:pt>
    <dgm:pt modelId="{8B36435E-09AA-4131-B552-B312230FEC4E}" type="pres">
      <dgm:prSet presAssocID="{9715E760-B4BB-4D7E-8921-0BCEB1E913A1}" presName="spacer" presStyleCnt="0"/>
      <dgm:spPr/>
    </dgm:pt>
    <dgm:pt modelId="{25A627DA-6D9F-4037-93C2-E1D9C00C5F77}" type="pres">
      <dgm:prSet presAssocID="{0480EA10-CC46-48D3-983E-B76ADE48769C}" presName="parentText" presStyleLbl="node1" presStyleIdx="4" presStyleCnt="7">
        <dgm:presLayoutVars>
          <dgm:chMax val="0"/>
          <dgm:bulletEnabled val="1"/>
        </dgm:presLayoutVars>
      </dgm:prSet>
      <dgm:spPr/>
    </dgm:pt>
    <dgm:pt modelId="{86FD4AE3-CE13-44C6-8239-F3A01EF2C839}" type="pres">
      <dgm:prSet presAssocID="{3FD26D9D-EC2A-4A0F-98AB-A1A8C6C84F95}" presName="spacer" presStyleCnt="0"/>
      <dgm:spPr/>
    </dgm:pt>
    <dgm:pt modelId="{0A2D7899-1BFE-47AC-94CC-DCEF8A17F3AC}" type="pres">
      <dgm:prSet presAssocID="{A9BEAD12-2DC7-4971-B66E-C486E351EB8A}" presName="parentText" presStyleLbl="node1" presStyleIdx="5" presStyleCnt="7">
        <dgm:presLayoutVars>
          <dgm:chMax val="0"/>
          <dgm:bulletEnabled val="1"/>
        </dgm:presLayoutVars>
      </dgm:prSet>
      <dgm:spPr/>
    </dgm:pt>
    <dgm:pt modelId="{123088B9-64F8-4AFD-B6B1-D8990A31BC1B}" type="pres">
      <dgm:prSet presAssocID="{8DA0EB94-EB16-4A3D-9433-AEE35FA37D73}" presName="spacer" presStyleCnt="0"/>
      <dgm:spPr/>
    </dgm:pt>
    <dgm:pt modelId="{A1F567E4-FEE7-4A03-A4F2-46347D86B9EF}" type="pres">
      <dgm:prSet presAssocID="{0B813DDA-6D0E-4400-B7DF-B09450FBFA17}" presName="parentText" presStyleLbl="node1" presStyleIdx="6" presStyleCnt="7">
        <dgm:presLayoutVars>
          <dgm:chMax val="0"/>
          <dgm:bulletEnabled val="1"/>
        </dgm:presLayoutVars>
      </dgm:prSet>
      <dgm:spPr/>
    </dgm:pt>
  </dgm:ptLst>
  <dgm:cxnLst>
    <dgm:cxn modelId="{4CC33C15-9A52-4C8C-9DFD-EF7B1EACD00E}" srcId="{95505CB7-BEBD-49B2-A696-B21824177CDB}" destId="{57A119C4-754D-4C8A-9ACA-0E641CF0C156}" srcOrd="1" destOrd="0" parTransId="{953B9831-FDDC-4BF8-8F5A-3F695E6D7A12}" sibTransId="{1A53A35B-1DC0-46FE-BFC8-BCA1076A38DF}"/>
    <dgm:cxn modelId="{2A4A031D-7745-440A-A811-FA77609B8A83}" type="presOf" srcId="{027AC91A-1A83-42D1-9AC0-9A178DF154DC}" destId="{5DF0AE3B-5F3D-4206-A04E-F558BE0D5763}" srcOrd="0" destOrd="0" presId="urn:microsoft.com/office/officeart/2005/8/layout/vList2"/>
    <dgm:cxn modelId="{1F08B537-934F-4689-BC87-C504C5790E2C}" type="presOf" srcId="{0480EA10-CC46-48D3-983E-B76ADE48769C}" destId="{25A627DA-6D9F-4037-93C2-E1D9C00C5F77}" srcOrd="0" destOrd="0" presId="urn:microsoft.com/office/officeart/2005/8/layout/vList2"/>
    <dgm:cxn modelId="{90263942-395E-44EC-87F7-8CD75EA6882D}" type="presOf" srcId="{A9BEAD12-2DC7-4971-B66E-C486E351EB8A}" destId="{0A2D7899-1BFE-47AC-94CC-DCEF8A17F3AC}" srcOrd="0" destOrd="0" presId="urn:microsoft.com/office/officeart/2005/8/layout/vList2"/>
    <dgm:cxn modelId="{B95B2449-8DD7-425F-A533-FD585D5812AB}" srcId="{95505CB7-BEBD-49B2-A696-B21824177CDB}" destId="{0B813DDA-6D0E-4400-B7DF-B09450FBFA17}" srcOrd="6" destOrd="0" parTransId="{C68750B0-0EAC-479C-B18E-B27B89941D8A}" sibTransId="{8D01286C-C605-47BC-B359-D64B39DF041D}"/>
    <dgm:cxn modelId="{4DABA752-D6C2-40A3-9AB0-970608FEED64}" type="presOf" srcId="{57A119C4-754D-4C8A-9ACA-0E641CF0C156}" destId="{F6C61AB1-B3E7-4548-A7A6-248161373AC3}" srcOrd="0" destOrd="0" presId="urn:microsoft.com/office/officeart/2005/8/layout/vList2"/>
    <dgm:cxn modelId="{7A3D0674-3A29-4E17-8013-3B5B8BCE6E3F}" type="presOf" srcId="{95505CB7-BEBD-49B2-A696-B21824177CDB}" destId="{DA78E416-3E33-4719-8500-EC44D3DEB9E9}" srcOrd="0" destOrd="0" presId="urn:microsoft.com/office/officeart/2005/8/layout/vList2"/>
    <dgm:cxn modelId="{FBE11A59-5C90-4BB1-A292-9148E77C3B1E}" type="presOf" srcId="{4F21903D-2B3F-4F11-ABD3-2C53FF5C15D4}" destId="{317889F2-3518-4393-94F8-6620D30E3221}" srcOrd="0" destOrd="0" presId="urn:microsoft.com/office/officeart/2005/8/layout/vList2"/>
    <dgm:cxn modelId="{70FEF559-A661-4FA2-9A4F-EB088734AFB6}" srcId="{95505CB7-BEBD-49B2-A696-B21824177CDB}" destId="{0480EA10-CC46-48D3-983E-B76ADE48769C}" srcOrd="4" destOrd="0" parTransId="{88089E51-0DE1-46B1-AA67-F2FC55525BB2}" sibTransId="{3FD26D9D-EC2A-4A0F-98AB-A1A8C6C84F95}"/>
    <dgm:cxn modelId="{F0EBFA8A-CCB7-45C4-AE14-B1C756BF3B9B}" srcId="{95505CB7-BEBD-49B2-A696-B21824177CDB}" destId="{2B3886ED-90E2-4951-9670-F94E43BDEFD7}" srcOrd="0" destOrd="0" parTransId="{989A2BF3-1567-40E9-A2FE-6E313CA5A54E}" sibTransId="{A2AE4F84-AF7D-40CF-AE84-5725D8365754}"/>
    <dgm:cxn modelId="{79DD2092-FB8E-466C-9026-EC71978D944E}" type="presOf" srcId="{0B813DDA-6D0E-4400-B7DF-B09450FBFA17}" destId="{A1F567E4-FEE7-4A03-A4F2-46347D86B9EF}" srcOrd="0" destOrd="0" presId="urn:microsoft.com/office/officeart/2005/8/layout/vList2"/>
    <dgm:cxn modelId="{38EA6FB1-3F7D-4CD1-9ACC-0D0AA85646E5}" srcId="{95505CB7-BEBD-49B2-A696-B21824177CDB}" destId="{4F21903D-2B3F-4F11-ABD3-2C53FF5C15D4}" srcOrd="2" destOrd="0" parTransId="{318D07BE-C4AB-46B1-9C9A-B7DAAD83B7BC}" sibTransId="{D2D943EE-2A5C-49EA-A5F9-BCE56AFD2CE0}"/>
    <dgm:cxn modelId="{5761B8C8-5E82-4CBD-8B52-5FDAEBD745FC}" srcId="{95505CB7-BEBD-49B2-A696-B21824177CDB}" destId="{A9BEAD12-2DC7-4971-B66E-C486E351EB8A}" srcOrd="5" destOrd="0" parTransId="{DD270D4A-7DAC-4AF6-AE07-73A5C1E45DD9}" sibTransId="{8DA0EB94-EB16-4A3D-9433-AEE35FA37D73}"/>
    <dgm:cxn modelId="{F50427E2-942D-4A27-93CE-D27D066041CC}" type="presOf" srcId="{2B3886ED-90E2-4951-9670-F94E43BDEFD7}" destId="{BA5A242F-CD08-4081-A2A3-E93BFF7CEFFA}" srcOrd="0" destOrd="0" presId="urn:microsoft.com/office/officeart/2005/8/layout/vList2"/>
    <dgm:cxn modelId="{24D974EB-3707-4DF5-8A21-8B8B6DD74701}" srcId="{95505CB7-BEBD-49B2-A696-B21824177CDB}" destId="{027AC91A-1A83-42D1-9AC0-9A178DF154DC}" srcOrd="3" destOrd="0" parTransId="{270EE9CD-6861-440E-BBFF-145852E5FB64}" sibTransId="{9715E760-B4BB-4D7E-8921-0BCEB1E913A1}"/>
    <dgm:cxn modelId="{5672099D-A9A5-4298-B35E-5C76CD776936}" type="presParOf" srcId="{DA78E416-3E33-4719-8500-EC44D3DEB9E9}" destId="{BA5A242F-CD08-4081-A2A3-E93BFF7CEFFA}" srcOrd="0" destOrd="0" presId="urn:microsoft.com/office/officeart/2005/8/layout/vList2"/>
    <dgm:cxn modelId="{9FB2C15E-3B6B-48E5-A42C-E3514C347CCD}" type="presParOf" srcId="{DA78E416-3E33-4719-8500-EC44D3DEB9E9}" destId="{2D172873-F413-4ADA-ABEC-53EB510DDBEA}" srcOrd="1" destOrd="0" presId="urn:microsoft.com/office/officeart/2005/8/layout/vList2"/>
    <dgm:cxn modelId="{E6CBD79F-B6DE-4426-9454-99E56800678B}" type="presParOf" srcId="{DA78E416-3E33-4719-8500-EC44D3DEB9E9}" destId="{F6C61AB1-B3E7-4548-A7A6-248161373AC3}" srcOrd="2" destOrd="0" presId="urn:microsoft.com/office/officeart/2005/8/layout/vList2"/>
    <dgm:cxn modelId="{B3810991-640F-40B6-8A67-9CE99A6543AD}" type="presParOf" srcId="{DA78E416-3E33-4719-8500-EC44D3DEB9E9}" destId="{09A8E13A-D29B-413C-B9E0-381A156CD7D5}" srcOrd="3" destOrd="0" presId="urn:microsoft.com/office/officeart/2005/8/layout/vList2"/>
    <dgm:cxn modelId="{58B1818C-5A0E-4EB2-9C4C-B3B150E072FB}" type="presParOf" srcId="{DA78E416-3E33-4719-8500-EC44D3DEB9E9}" destId="{317889F2-3518-4393-94F8-6620D30E3221}" srcOrd="4" destOrd="0" presId="urn:microsoft.com/office/officeart/2005/8/layout/vList2"/>
    <dgm:cxn modelId="{029C950C-3F8F-4E28-B727-AE7960B4691C}" type="presParOf" srcId="{DA78E416-3E33-4719-8500-EC44D3DEB9E9}" destId="{E539CEAC-3E75-4DE7-9C4B-942FCB105020}" srcOrd="5" destOrd="0" presId="urn:microsoft.com/office/officeart/2005/8/layout/vList2"/>
    <dgm:cxn modelId="{6A14BFE4-EE91-4DC4-8BB2-D1DD08C67D12}" type="presParOf" srcId="{DA78E416-3E33-4719-8500-EC44D3DEB9E9}" destId="{5DF0AE3B-5F3D-4206-A04E-F558BE0D5763}" srcOrd="6" destOrd="0" presId="urn:microsoft.com/office/officeart/2005/8/layout/vList2"/>
    <dgm:cxn modelId="{4F63C66B-1BC9-4E55-9014-345FE5652AF6}" type="presParOf" srcId="{DA78E416-3E33-4719-8500-EC44D3DEB9E9}" destId="{8B36435E-09AA-4131-B552-B312230FEC4E}" srcOrd="7" destOrd="0" presId="urn:microsoft.com/office/officeart/2005/8/layout/vList2"/>
    <dgm:cxn modelId="{E2A85080-10F3-440E-8885-65679BACAB23}" type="presParOf" srcId="{DA78E416-3E33-4719-8500-EC44D3DEB9E9}" destId="{25A627DA-6D9F-4037-93C2-E1D9C00C5F77}" srcOrd="8" destOrd="0" presId="urn:microsoft.com/office/officeart/2005/8/layout/vList2"/>
    <dgm:cxn modelId="{D15C84AE-4A33-4AB1-B6C5-F4966F99BB55}" type="presParOf" srcId="{DA78E416-3E33-4719-8500-EC44D3DEB9E9}" destId="{86FD4AE3-CE13-44C6-8239-F3A01EF2C839}" srcOrd="9" destOrd="0" presId="urn:microsoft.com/office/officeart/2005/8/layout/vList2"/>
    <dgm:cxn modelId="{F9E92944-6A5E-4BD7-AC47-F47CDB30DED2}" type="presParOf" srcId="{DA78E416-3E33-4719-8500-EC44D3DEB9E9}" destId="{0A2D7899-1BFE-47AC-94CC-DCEF8A17F3AC}" srcOrd="10" destOrd="0" presId="urn:microsoft.com/office/officeart/2005/8/layout/vList2"/>
    <dgm:cxn modelId="{F3A52B9A-CE66-417B-84FF-DF6F5C8D0F32}" type="presParOf" srcId="{DA78E416-3E33-4719-8500-EC44D3DEB9E9}" destId="{123088B9-64F8-4AFD-B6B1-D8990A31BC1B}" srcOrd="11" destOrd="0" presId="urn:microsoft.com/office/officeart/2005/8/layout/vList2"/>
    <dgm:cxn modelId="{CF7B5300-B509-4C75-8944-1C3CB658DAFB}" type="presParOf" srcId="{DA78E416-3E33-4719-8500-EC44D3DEB9E9}" destId="{A1F567E4-FEE7-4A03-A4F2-46347D86B9EF}"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5505CB7-BEBD-49B2-A696-B21824177CDB}" type="doc">
      <dgm:prSet loTypeId="urn:microsoft.com/office/officeart/2005/8/layout/vList2" loCatId="list" qsTypeId="urn:microsoft.com/office/officeart/2005/8/quickstyle/simple1" qsCatId="simple" csTypeId="urn:microsoft.com/office/officeart/2005/8/colors/accent4_2" csCatId="accent4" phldr="1"/>
      <dgm:spPr/>
      <dgm:t>
        <a:bodyPr/>
        <a:lstStyle/>
        <a:p>
          <a:endParaRPr lang="en-GB"/>
        </a:p>
      </dgm:t>
    </dgm:pt>
    <dgm:pt modelId="{2B3886ED-90E2-4951-9670-F94E43BDEFD7}">
      <dgm:prSet/>
      <dgm:spPr/>
      <dgm:t>
        <a:bodyPr/>
        <a:lstStyle/>
        <a:p>
          <a:pPr algn="ctr"/>
          <a:r>
            <a:rPr lang="en-GB"/>
            <a:t>Conformity Assessments</a:t>
          </a:r>
        </a:p>
      </dgm:t>
    </dgm:pt>
    <dgm:pt modelId="{989A2BF3-1567-40E9-A2FE-6E313CA5A54E}" type="parTrans" cxnId="{F0EBFA8A-CCB7-45C4-AE14-B1C756BF3B9B}">
      <dgm:prSet/>
      <dgm:spPr/>
      <dgm:t>
        <a:bodyPr/>
        <a:lstStyle/>
        <a:p>
          <a:endParaRPr lang="en-GB"/>
        </a:p>
      </dgm:t>
    </dgm:pt>
    <dgm:pt modelId="{A2AE4F84-AF7D-40CF-AE84-5725D8365754}" type="sibTrans" cxnId="{F0EBFA8A-CCB7-45C4-AE14-B1C756BF3B9B}">
      <dgm:prSet/>
      <dgm:spPr/>
      <dgm:t>
        <a:bodyPr/>
        <a:lstStyle/>
        <a:p>
          <a:endParaRPr lang="en-GB"/>
        </a:p>
      </dgm:t>
    </dgm:pt>
    <dgm:pt modelId="{D5B512F1-532D-4638-BD59-BBBB4730462E}">
      <dgm:prSet/>
      <dgm:spPr/>
      <dgm:t>
        <a:bodyPr/>
        <a:lstStyle/>
        <a:p>
          <a:pPr algn="ctr"/>
          <a:r>
            <a:rPr lang="en-GB"/>
            <a:t>Maintain compliance</a:t>
          </a:r>
        </a:p>
      </dgm:t>
    </dgm:pt>
    <dgm:pt modelId="{718EC392-6DCA-4ECF-95F0-563134CED350}" type="parTrans" cxnId="{32B098B2-53DE-4808-9F4D-455BB05E10CB}">
      <dgm:prSet/>
      <dgm:spPr/>
      <dgm:t>
        <a:bodyPr/>
        <a:lstStyle/>
        <a:p>
          <a:endParaRPr lang="en-GB"/>
        </a:p>
      </dgm:t>
    </dgm:pt>
    <dgm:pt modelId="{E4D54462-9087-4A26-8B3E-F6BB61BDE2F2}" type="sibTrans" cxnId="{32B098B2-53DE-4808-9F4D-455BB05E10CB}">
      <dgm:prSet/>
      <dgm:spPr/>
      <dgm:t>
        <a:bodyPr/>
        <a:lstStyle/>
        <a:p>
          <a:endParaRPr lang="en-GB"/>
        </a:p>
      </dgm:t>
    </dgm:pt>
    <dgm:pt modelId="{71D9F8C7-30BF-4FF9-90F4-65A0EA81D750}">
      <dgm:prSet/>
      <dgm:spPr/>
      <dgm:t>
        <a:bodyPr/>
        <a:lstStyle/>
        <a:p>
          <a:pPr algn="ctr"/>
          <a:r>
            <a:rPr lang="en-GB"/>
            <a:t>Quality Assurance Systems</a:t>
          </a:r>
        </a:p>
      </dgm:t>
    </dgm:pt>
    <dgm:pt modelId="{B232B155-DAE4-4A45-A0A1-6FEAC788DBCE}" type="parTrans" cxnId="{171BC190-140A-4270-902A-CE07C662F665}">
      <dgm:prSet/>
      <dgm:spPr/>
      <dgm:t>
        <a:bodyPr/>
        <a:lstStyle/>
        <a:p>
          <a:endParaRPr lang="en-GB"/>
        </a:p>
      </dgm:t>
    </dgm:pt>
    <dgm:pt modelId="{5DDE559D-8322-40B8-99F0-A752E173C6AA}" type="sibTrans" cxnId="{171BC190-140A-4270-902A-CE07C662F665}">
      <dgm:prSet/>
      <dgm:spPr/>
      <dgm:t>
        <a:bodyPr/>
        <a:lstStyle/>
        <a:p>
          <a:endParaRPr lang="en-GB"/>
        </a:p>
      </dgm:t>
    </dgm:pt>
    <dgm:pt modelId="{4370A7E5-73F2-4900-A9D6-1E09AD83BD05}">
      <dgm:prSet/>
      <dgm:spPr/>
      <dgm:t>
        <a:bodyPr/>
        <a:lstStyle/>
        <a:p>
          <a:pPr algn="ctr"/>
          <a:r>
            <a:rPr lang="en-GB"/>
            <a:t>Registration in EU database</a:t>
          </a:r>
        </a:p>
      </dgm:t>
    </dgm:pt>
    <dgm:pt modelId="{3794DCA3-9967-4D9A-A0ED-6321D9EF950C}" type="parTrans" cxnId="{E933588D-DCC5-487B-A135-AE33E19260E8}">
      <dgm:prSet/>
      <dgm:spPr/>
      <dgm:t>
        <a:bodyPr/>
        <a:lstStyle/>
        <a:p>
          <a:endParaRPr lang="en-GB"/>
        </a:p>
      </dgm:t>
    </dgm:pt>
    <dgm:pt modelId="{1B5ECC29-1CA3-4F8E-9435-99D7CA789A94}" type="sibTrans" cxnId="{E933588D-DCC5-487B-A135-AE33E19260E8}">
      <dgm:prSet/>
      <dgm:spPr/>
      <dgm:t>
        <a:bodyPr/>
        <a:lstStyle/>
        <a:p>
          <a:endParaRPr lang="en-GB"/>
        </a:p>
      </dgm:t>
    </dgm:pt>
    <dgm:pt modelId="{224BADB5-A5A6-4367-9632-6146C6D9A01D}">
      <dgm:prSet/>
      <dgm:spPr/>
      <dgm:t>
        <a:bodyPr/>
        <a:lstStyle/>
        <a:p>
          <a:pPr algn="ctr"/>
          <a:r>
            <a:rPr lang="en-GB"/>
            <a:t>CE Marking</a:t>
          </a:r>
        </a:p>
      </dgm:t>
    </dgm:pt>
    <dgm:pt modelId="{B6662C30-0247-4CBA-9C0B-A04CB7945DDA}" type="parTrans" cxnId="{85C02437-59D9-426D-A238-A0B02607C9CD}">
      <dgm:prSet/>
      <dgm:spPr/>
      <dgm:t>
        <a:bodyPr/>
        <a:lstStyle/>
        <a:p>
          <a:endParaRPr lang="en-GB"/>
        </a:p>
      </dgm:t>
    </dgm:pt>
    <dgm:pt modelId="{D296AC6F-3853-4EDB-A1BF-BD6DD7E72A57}" type="sibTrans" cxnId="{85C02437-59D9-426D-A238-A0B02607C9CD}">
      <dgm:prSet/>
      <dgm:spPr/>
      <dgm:t>
        <a:bodyPr/>
        <a:lstStyle/>
        <a:p>
          <a:endParaRPr lang="en-GB"/>
        </a:p>
      </dgm:t>
    </dgm:pt>
    <dgm:pt modelId="{9D3C8BB6-9B0F-4672-ACEF-BA287F0C19CB}">
      <dgm:prSet/>
      <dgm:spPr/>
      <dgm:t>
        <a:bodyPr/>
        <a:lstStyle/>
        <a:p>
          <a:pPr algn="ctr"/>
          <a:r>
            <a:rPr lang="en-GB"/>
            <a:t>Ongoing Monitoring</a:t>
          </a:r>
        </a:p>
      </dgm:t>
    </dgm:pt>
    <dgm:pt modelId="{EBDB5533-2D7A-446A-B309-E85C46D99016}" type="parTrans" cxnId="{7CC29BF0-05FC-45B8-9CE5-5FC140386724}">
      <dgm:prSet/>
      <dgm:spPr/>
      <dgm:t>
        <a:bodyPr/>
        <a:lstStyle/>
        <a:p>
          <a:endParaRPr lang="en-GB"/>
        </a:p>
      </dgm:t>
    </dgm:pt>
    <dgm:pt modelId="{5E38C45B-3535-4326-BECE-CF96BB70E633}" type="sibTrans" cxnId="{7CC29BF0-05FC-45B8-9CE5-5FC140386724}">
      <dgm:prSet/>
      <dgm:spPr/>
      <dgm:t>
        <a:bodyPr/>
        <a:lstStyle/>
        <a:p>
          <a:endParaRPr lang="en-GB"/>
        </a:p>
      </dgm:t>
    </dgm:pt>
    <dgm:pt modelId="{DA78E416-3E33-4719-8500-EC44D3DEB9E9}" type="pres">
      <dgm:prSet presAssocID="{95505CB7-BEBD-49B2-A696-B21824177CDB}" presName="linear" presStyleCnt="0">
        <dgm:presLayoutVars>
          <dgm:animLvl val="lvl"/>
          <dgm:resizeHandles val="exact"/>
        </dgm:presLayoutVars>
      </dgm:prSet>
      <dgm:spPr/>
    </dgm:pt>
    <dgm:pt modelId="{BA5A242F-CD08-4081-A2A3-E93BFF7CEFFA}" type="pres">
      <dgm:prSet presAssocID="{2B3886ED-90E2-4951-9670-F94E43BDEFD7}" presName="parentText" presStyleLbl="node1" presStyleIdx="0" presStyleCnt="6">
        <dgm:presLayoutVars>
          <dgm:chMax val="0"/>
          <dgm:bulletEnabled val="1"/>
        </dgm:presLayoutVars>
      </dgm:prSet>
      <dgm:spPr/>
    </dgm:pt>
    <dgm:pt modelId="{47ABAE77-49CC-4EA0-8787-F0D63BCEAEA7}" type="pres">
      <dgm:prSet presAssocID="{A2AE4F84-AF7D-40CF-AE84-5725D8365754}" presName="spacer" presStyleCnt="0"/>
      <dgm:spPr/>
    </dgm:pt>
    <dgm:pt modelId="{EDB15EB1-3AA0-4A6C-9420-9A811424B163}" type="pres">
      <dgm:prSet presAssocID="{D5B512F1-532D-4638-BD59-BBBB4730462E}" presName="parentText" presStyleLbl="node1" presStyleIdx="1" presStyleCnt="6">
        <dgm:presLayoutVars>
          <dgm:chMax val="0"/>
          <dgm:bulletEnabled val="1"/>
        </dgm:presLayoutVars>
      </dgm:prSet>
      <dgm:spPr/>
    </dgm:pt>
    <dgm:pt modelId="{1FDF7DF6-3C3A-4C77-9234-5B6DAA913443}" type="pres">
      <dgm:prSet presAssocID="{E4D54462-9087-4A26-8B3E-F6BB61BDE2F2}" presName="spacer" presStyleCnt="0"/>
      <dgm:spPr/>
    </dgm:pt>
    <dgm:pt modelId="{25EF63C9-0550-44E1-8F05-96C00E9CA1E9}" type="pres">
      <dgm:prSet presAssocID="{71D9F8C7-30BF-4FF9-90F4-65A0EA81D750}" presName="parentText" presStyleLbl="node1" presStyleIdx="2" presStyleCnt="6">
        <dgm:presLayoutVars>
          <dgm:chMax val="0"/>
          <dgm:bulletEnabled val="1"/>
        </dgm:presLayoutVars>
      </dgm:prSet>
      <dgm:spPr/>
    </dgm:pt>
    <dgm:pt modelId="{B2EA3B9B-5D2E-4E23-85E6-A06B41E0775C}" type="pres">
      <dgm:prSet presAssocID="{5DDE559D-8322-40B8-99F0-A752E173C6AA}" presName="spacer" presStyleCnt="0"/>
      <dgm:spPr/>
    </dgm:pt>
    <dgm:pt modelId="{2F0B5F05-7B4B-4F1C-99A8-03277D9E457A}" type="pres">
      <dgm:prSet presAssocID="{4370A7E5-73F2-4900-A9D6-1E09AD83BD05}" presName="parentText" presStyleLbl="node1" presStyleIdx="3" presStyleCnt="6">
        <dgm:presLayoutVars>
          <dgm:chMax val="0"/>
          <dgm:bulletEnabled val="1"/>
        </dgm:presLayoutVars>
      </dgm:prSet>
      <dgm:spPr/>
    </dgm:pt>
    <dgm:pt modelId="{4B8D41A7-98CA-4C1D-85F7-2729BF72F04C}" type="pres">
      <dgm:prSet presAssocID="{1B5ECC29-1CA3-4F8E-9435-99D7CA789A94}" presName="spacer" presStyleCnt="0"/>
      <dgm:spPr/>
    </dgm:pt>
    <dgm:pt modelId="{06924208-57A9-4D1A-8D67-F55D795D06FA}" type="pres">
      <dgm:prSet presAssocID="{224BADB5-A5A6-4367-9632-6146C6D9A01D}" presName="parentText" presStyleLbl="node1" presStyleIdx="4" presStyleCnt="6">
        <dgm:presLayoutVars>
          <dgm:chMax val="0"/>
          <dgm:bulletEnabled val="1"/>
        </dgm:presLayoutVars>
      </dgm:prSet>
      <dgm:spPr/>
    </dgm:pt>
    <dgm:pt modelId="{AF9E17D0-8900-4E97-BC1F-413F51DA1A0E}" type="pres">
      <dgm:prSet presAssocID="{D296AC6F-3853-4EDB-A1BF-BD6DD7E72A57}" presName="spacer" presStyleCnt="0"/>
      <dgm:spPr/>
    </dgm:pt>
    <dgm:pt modelId="{CFE2CBEA-C364-42B6-A474-FB0C67D79DD0}" type="pres">
      <dgm:prSet presAssocID="{9D3C8BB6-9B0F-4672-ACEF-BA287F0C19CB}" presName="parentText" presStyleLbl="node1" presStyleIdx="5" presStyleCnt="6">
        <dgm:presLayoutVars>
          <dgm:chMax val="0"/>
          <dgm:bulletEnabled val="1"/>
        </dgm:presLayoutVars>
      </dgm:prSet>
      <dgm:spPr/>
    </dgm:pt>
  </dgm:ptLst>
  <dgm:cxnLst>
    <dgm:cxn modelId="{85C02437-59D9-426D-A238-A0B02607C9CD}" srcId="{95505CB7-BEBD-49B2-A696-B21824177CDB}" destId="{224BADB5-A5A6-4367-9632-6146C6D9A01D}" srcOrd="4" destOrd="0" parTransId="{B6662C30-0247-4CBA-9C0B-A04CB7945DDA}" sibTransId="{D296AC6F-3853-4EDB-A1BF-BD6DD7E72A57}"/>
    <dgm:cxn modelId="{96DE0543-0E1A-4874-9A7E-FBEB0EC7483E}" type="presOf" srcId="{9D3C8BB6-9B0F-4672-ACEF-BA287F0C19CB}" destId="{CFE2CBEA-C364-42B6-A474-FB0C67D79DD0}" srcOrd="0" destOrd="0" presId="urn:microsoft.com/office/officeart/2005/8/layout/vList2"/>
    <dgm:cxn modelId="{2EC1F66D-DB7B-4F33-9A51-BF165BEAAD3B}" type="presOf" srcId="{D5B512F1-532D-4638-BD59-BBBB4730462E}" destId="{EDB15EB1-3AA0-4A6C-9420-9A811424B163}" srcOrd="0" destOrd="0" presId="urn:microsoft.com/office/officeart/2005/8/layout/vList2"/>
    <dgm:cxn modelId="{7A3D0674-3A29-4E17-8013-3B5B8BCE6E3F}" type="presOf" srcId="{95505CB7-BEBD-49B2-A696-B21824177CDB}" destId="{DA78E416-3E33-4719-8500-EC44D3DEB9E9}" srcOrd="0" destOrd="0" presId="urn:microsoft.com/office/officeart/2005/8/layout/vList2"/>
    <dgm:cxn modelId="{F0EBFA8A-CCB7-45C4-AE14-B1C756BF3B9B}" srcId="{95505CB7-BEBD-49B2-A696-B21824177CDB}" destId="{2B3886ED-90E2-4951-9670-F94E43BDEFD7}" srcOrd="0" destOrd="0" parTransId="{989A2BF3-1567-40E9-A2FE-6E313CA5A54E}" sibTransId="{A2AE4F84-AF7D-40CF-AE84-5725D8365754}"/>
    <dgm:cxn modelId="{E933588D-DCC5-487B-A135-AE33E19260E8}" srcId="{95505CB7-BEBD-49B2-A696-B21824177CDB}" destId="{4370A7E5-73F2-4900-A9D6-1E09AD83BD05}" srcOrd="3" destOrd="0" parTransId="{3794DCA3-9967-4D9A-A0ED-6321D9EF950C}" sibTransId="{1B5ECC29-1CA3-4F8E-9435-99D7CA789A94}"/>
    <dgm:cxn modelId="{171BC190-140A-4270-902A-CE07C662F665}" srcId="{95505CB7-BEBD-49B2-A696-B21824177CDB}" destId="{71D9F8C7-30BF-4FF9-90F4-65A0EA81D750}" srcOrd="2" destOrd="0" parTransId="{B232B155-DAE4-4A45-A0A1-6FEAC788DBCE}" sibTransId="{5DDE559D-8322-40B8-99F0-A752E173C6AA}"/>
    <dgm:cxn modelId="{6354579A-E73D-4A9B-8881-9CDC8E575D64}" type="presOf" srcId="{224BADB5-A5A6-4367-9632-6146C6D9A01D}" destId="{06924208-57A9-4D1A-8D67-F55D795D06FA}" srcOrd="0" destOrd="0" presId="urn:microsoft.com/office/officeart/2005/8/layout/vList2"/>
    <dgm:cxn modelId="{32B098B2-53DE-4808-9F4D-455BB05E10CB}" srcId="{95505CB7-BEBD-49B2-A696-B21824177CDB}" destId="{D5B512F1-532D-4638-BD59-BBBB4730462E}" srcOrd="1" destOrd="0" parTransId="{718EC392-6DCA-4ECF-95F0-563134CED350}" sibTransId="{E4D54462-9087-4A26-8B3E-F6BB61BDE2F2}"/>
    <dgm:cxn modelId="{270FA8DE-7C3F-4993-AF80-A93E52F919BA}" type="presOf" srcId="{4370A7E5-73F2-4900-A9D6-1E09AD83BD05}" destId="{2F0B5F05-7B4B-4F1C-99A8-03277D9E457A}" srcOrd="0" destOrd="0" presId="urn:microsoft.com/office/officeart/2005/8/layout/vList2"/>
    <dgm:cxn modelId="{F50427E2-942D-4A27-93CE-D27D066041CC}" type="presOf" srcId="{2B3886ED-90E2-4951-9670-F94E43BDEFD7}" destId="{BA5A242F-CD08-4081-A2A3-E93BFF7CEFFA}" srcOrd="0" destOrd="0" presId="urn:microsoft.com/office/officeart/2005/8/layout/vList2"/>
    <dgm:cxn modelId="{7CC29BF0-05FC-45B8-9CE5-5FC140386724}" srcId="{95505CB7-BEBD-49B2-A696-B21824177CDB}" destId="{9D3C8BB6-9B0F-4672-ACEF-BA287F0C19CB}" srcOrd="5" destOrd="0" parTransId="{EBDB5533-2D7A-446A-B309-E85C46D99016}" sibTransId="{5E38C45B-3535-4326-BECE-CF96BB70E633}"/>
    <dgm:cxn modelId="{CC122BFF-9FDF-44DE-95F2-A300B9FE20A3}" type="presOf" srcId="{71D9F8C7-30BF-4FF9-90F4-65A0EA81D750}" destId="{25EF63C9-0550-44E1-8F05-96C00E9CA1E9}" srcOrd="0" destOrd="0" presId="urn:microsoft.com/office/officeart/2005/8/layout/vList2"/>
    <dgm:cxn modelId="{5672099D-A9A5-4298-B35E-5C76CD776936}" type="presParOf" srcId="{DA78E416-3E33-4719-8500-EC44D3DEB9E9}" destId="{BA5A242F-CD08-4081-A2A3-E93BFF7CEFFA}" srcOrd="0" destOrd="0" presId="urn:microsoft.com/office/officeart/2005/8/layout/vList2"/>
    <dgm:cxn modelId="{9F1A872F-19F4-48CC-86BD-A8A6505BEAD5}" type="presParOf" srcId="{DA78E416-3E33-4719-8500-EC44D3DEB9E9}" destId="{47ABAE77-49CC-4EA0-8787-F0D63BCEAEA7}" srcOrd="1" destOrd="0" presId="urn:microsoft.com/office/officeart/2005/8/layout/vList2"/>
    <dgm:cxn modelId="{B2C7CF14-A181-45CA-88FA-EF5530C6CE2A}" type="presParOf" srcId="{DA78E416-3E33-4719-8500-EC44D3DEB9E9}" destId="{EDB15EB1-3AA0-4A6C-9420-9A811424B163}" srcOrd="2" destOrd="0" presId="urn:microsoft.com/office/officeart/2005/8/layout/vList2"/>
    <dgm:cxn modelId="{96A85BA9-2E13-46A6-899C-7730CB8E6D25}" type="presParOf" srcId="{DA78E416-3E33-4719-8500-EC44D3DEB9E9}" destId="{1FDF7DF6-3C3A-4C77-9234-5B6DAA913443}" srcOrd="3" destOrd="0" presId="urn:microsoft.com/office/officeart/2005/8/layout/vList2"/>
    <dgm:cxn modelId="{7EF168EA-4C50-497D-B3B4-4F0300A4CC62}" type="presParOf" srcId="{DA78E416-3E33-4719-8500-EC44D3DEB9E9}" destId="{25EF63C9-0550-44E1-8F05-96C00E9CA1E9}" srcOrd="4" destOrd="0" presId="urn:microsoft.com/office/officeart/2005/8/layout/vList2"/>
    <dgm:cxn modelId="{58A8B411-9B87-48FE-9C42-AE92FC96B914}" type="presParOf" srcId="{DA78E416-3E33-4719-8500-EC44D3DEB9E9}" destId="{B2EA3B9B-5D2E-4E23-85E6-A06B41E0775C}" srcOrd="5" destOrd="0" presId="urn:microsoft.com/office/officeart/2005/8/layout/vList2"/>
    <dgm:cxn modelId="{8995C808-E0DA-4D37-B93F-85D9FAA0D6F2}" type="presParOf" srcId="{DA78E416-3E33-4719-8500-EC44D3DEB9E9}" destId="{2F0B5F05-7B4B-4F1C-99A8-03277D9E457A}" srcOrd="6" destOrd="0" presId="urn:microsoft.com/office/officeart/2005/8/layout/vList2"/>
    <dgm:cxn modelId="{527AFBCE-05E1-4852-86EF-022AF3123E8B}" type="presParOf" srcId="{DA78E416-3E33-4719-8500-EC44D3DEB9E9}" destId="{4B8D41A7-98CA-4C1D-85F7-2729BF72F04C}" srcOrd="7" destOrd="0" presId="urn:microsoft.com/office/officeart/2005/8/layout/vList2"/>
    <dgm:cxn modelId="{A2A70DFE-F3C6-4EB1-9BD0-2BB35AC42C30}" type="presParOf" srcId="{DA78E416-3E33-4719-8500-EC44D3DEB9E9}" destId="{06924208-57A9-4D1A-8D67-F55D795D06FA}" srcOrd="8" destOrd="0" presId="urn:microsoft.com/office/officeart/2005/8/layout/vList2"/>
    <dgm:cxn modelId="{DF3DDEDF-686D-4F41-8EB1-F30F2AF77AAC}" type="presParOf" srcId="{DA78E416-3E33-4719-8500-EC44D3DEB9E9}" destId="{AF9E17D0-8900-4E97-BC1F-413F51DA1A0E}" srcOrd="9" destOrd="0" presId="urn:microsoft.com/office/officeart/2005/8/layout/vList2"/>
    <dgm:cxn modelId="{27DE1A19-BDD6-47D3-BFA5-55C45ACFB63A}" type="presParOf" srcId="{DA78E416-3E33-4719-8500-EC44D3DEB9E9}" destId="{CFE2CBEA-C364-42B6-A474-FB0C67D79DD0}" srcOrd="1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6DB6F8-4847-473F-8310-8B9ABBAC726A}">
      <dsp:nvSpPr>
        <dsp:cNvPr id="0" name=""/>
        <dsp:cNvSpPr/>
      </dsp:nvSpPr>
      <dsp:spPr>
        <a:xfrm>
          <a:off x="0" y="825105"/>
          <a:ext cx="2363739" cy="141824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en-GB" sz="2300" kern="1200">
              <a:solidFill>
                <a:schemeClr val="tx1"/>
              </a:solidFill>
              <a:latin typeface="Arial" panose="020B0604020202020204"/>
            </a:rPr>
            <a:t>'De-centralised' approach</a:t>
          </a:r>
          <a:endParaRPr lang="en-GB" sz="2300" kern="1200">
            <a:solidFill>
              <a:schemeClr val="tx1"/>
            </a:solidFill>
          </a:endParaRPr>
        </a:p>
      </dsp:txBody>
      <dsp:txXfrm>
        <a:off x="0" y="825105"/>
        <a:ext cx="2363739" cy="1418243"/>
      </dsp:txXfrm>
    </dsp:sp>
    <dsp:sp modelId="{F505CE69-1A02-4439-AE54-32D69C7B8621}">
      <dsp:nvSpPr>
        <dsp:cNvPr id="0" name=""/>
        <dsp:cNvSpPr/>
      </dsp:nvSpPr>
      <dsp:spPr>
        <a:xfrm>
          <a:off x="2600113" y="825105"/>
          <a:ext cx="2363739" cy="1418243"/>
        </a:xfrm>
        <a:prstGeom prst="rect">
          <a:avLst/>
        </a:prstGeom>
        <a:solidFill>
          <a:schemeClr val="accent3">
            <a:hueOff val="2424061"/>
            <a:satOff val="-5484"/>
            <a:lumOff val="-95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en-GB" sz="2300" kern="1200">
              <a:latin typeface="Arial" panose="020B0604020202020204"/>
            </a:rPr>
            <a:t>Regulator led (e.g., FCA; ICO)</a:t>
          </a:r>
          <a:endParaRPr lang="en-GB" sz="2300" kern="1200"/>
        </a:p>
      </dsp:txBody>
      <dsp:txXfrm>
        <a:off x="2600113" y="825105"/>
        <a:ext cx="2363739" cy="1418243"/>
      </dsp:txXfrm>
    </dsp:sp>
    <dsp:sp modelId="{E801974B-3297-4D64-B940-1A510BF9543D}">
      <dsp:nvSpPr>
        <dsp:cNvPr id="0" name=""/>
        <dsp:cNvSpPr/>
      </dsp:nvSpPr>
      <dsp:spPr>
        <a:xfrm>
          <a:off x="5200227" y="825105"/>
          <a:ext cx="2363739" cy="1418243"/>
        </a:xfrm>
        <a:prstGeom prst="rect">
          <a:avLst/>
        </a:prstGeom>
        <a:solidFill>
          <a:schemeClr val="accent3">
            <a:hueOff val="4848122"/>
            <a:satOff val="-10967"/>
            <a:lumOff val="-19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en-GB" sz="2300" kern="1200">
              <a:latin typeface="Arial" panose="020B0604020202020204"/>
            </a:rPr>
            <a:t>Regulators enforce common principles for responsible AI</a:t>
          </a:r>
          <a:endParaRPr lang="en-GB" sz="2300" kern="1200"/>
        </a:p>
      </dsp:txBody>
      <dsp:txXfrm>
        <a:off x="5200227" y="825105"/>
        <a:ext cx="2363739" cy="1418243"/>
      </dsp:txXfrm>
    </dsp:sp>
    <dsp:sp modelId="{52355BCA-592B-49A8-B6F5-D8CC18F7DB2E}">
      <dsp:nvSpPr>
        <dsp:cNvPr id="0" name=""/>
        <dsp:cNvSpPr/>
      </dsp:nvSpPr>
      <dsp:spPr>
        <a:xfrm>
          <a:off x="1300056" y="2479723"/>
          <a:ext cx="2363739" cy="1418243"/>
        </a:xfrm>
        <a:prstGeom prst="rect">
          <a:avLst/>
        </a:prstGeom>
        <a:solidFill>
          <a:schemeClr val="accent3">
            <a:hueOff val="7272184"/>
            <a:satOff val="-16451"/>
            <a:lumOff val="-286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en-GB" sz="2300" kern="1200">
              <a:latin typeface="Arial" panose="020B0604020202020204"/>
            </a:rPr>
            <a:t>Emphasis on international standards</a:t>
          </a:r>
          <a:endParaRPr lang="en-GB" sz="2300" kern="1200"/>
        </a:p>
      </dsp:txBody>
      <dsp:txXfrm>
        <a:off x="1300056" y="2479723"/>
        <a:ext cx="2363739" cy="1418243"/>
      </dsp:txXfrm>
    </dsp:sp>
    <dsp:sp modelId="{04DAF075-7E6E-4651-8F11-F87AD4F5EB53}">
      <dsp:nvSpPr>
        <dsp:cNvPr id="0" name=""/>
        <dsp:cNvSpPr/>
      </dsp:nvSpPr>
      <dsp:spPr>
        <a:xfrm>
          <a:off x="3900170" y="2479723"/>
          <a:ext cx="2363739" cy="1418243"/>
        </a:xfrm>
        <a:prstGeom prst="rect">
          <a:avLst/>
        </a:prstGeom>
        <a:solidFill>
          <a:schemeClr val="accent3">
            <a:hueOff val="9696245"/>
            <a:satOff val="-21935"/>
            <a:lumOff val="-382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en-GB" sz="2300" kern="1200"/>
            <a:t>UK policy agenda – AI summit; global watchdog??</a:t>
          </a:r>
        </a:p>
      </dsp:txBody>
      <dsp:txXfrm>
        <a:off x="3900170" y="2479723"/>
        <a:ext cx="2363739" cy="14182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2B484B-CB2D-4263-8093-2FEFA93314B1}">
      <dsp:nvSpPr>
        <dsp:cNvPr id="0" name=""/>
        <dsp:cNvSpPr/>
      </dsp:nvSpPr>
      <dsp:spPr>
        <a:xfrm>
          <a:off x="8137516" y="1572"/>
          <a:ext cx="3017811" cy="851393"/>
        </a:xfrm>
        <a:prstGeom prst="rightArrow">
          <a:avLst>
            <a:gd name="adj1" fmla="val 75000"/>
            <a:gd name="adj2" fmla="val 50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AC390FA-9A25-4433-B2F0-7D753C553128}">
      <dsp:nvSpPr>
        <dsp:cNvPr id="0" name=""/>
        <dsp:cNvSpPr/>
      </dsp:nvSpPr>
      <dsp:spPr>
        <a:xfrm>
          <a:off x="4797" y="1572"/>
          <a:ext cx="8132719" cy="851393"/>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l" defTabSz="711200">
            <a:lnSpc>
              <a:spcPct val="90000"/>
            </a:lnSpc>
            <a:spcBef>
              <a:spcPct val="0"/>
            </a:spcBef>
            <a:spcAft>
              <a:spcPct val="35000"/>
            </a:spcAft>
            <a:buNone/>
          </a:pPr>
          <a:r>
            <a:rPr lang="en-US" sz="1600" kern="1200" err="1">
              <a:solidFill>
                <a:schemeClr val="tx1"/>
              </a:solidFill>
            </a:rPr>
            <a:t>ChatGPT’s</a:t>
          </a:r>
          <a:r>
            <a:rPr lang="en-US" sz="1600" kern="1200">
              <a:solidFill>
                <a:schemeClr val="tx1"/>
              </a:solidFill>
            </a:rPr>
            <a:t> impact on the general public coupled with warnings of </a:t>
          </a:r>
          <a:r>
            <a:rPr lang="en-US" sz="1600" u="sng" kern="1200">
              <a:solidFill>
                <a:schemeClr val="tx1"/>
              </a:solidFill>
            </a:rPr>
            <a:t>“existential risk” </a:t>
          </a:r>
          <a:r>
            <a:rPr lang="en-US" sz="1600" kern="1200">
              <a:solidFill>
                <a:schemeClr val="tx1"/>
              </a:solidFill>
            </a:rPr>
            <a:t>by leading academics and industry leaders have prompted global urgency to regulate.   </a:t>
          </a:r>
        </a:p>
      </dsp:txBody>
      <dsp:txXfrm>
        <a:off x="46359" y="43134"/>
        <a:ext cx="8049595" cy="768269"/>
      </dsp:txXfrm>
    </dsp:sp>
    <dsp:sp modelId="{C5679340-461F-4FE0-933E-5E1570330646}">
      <dsp:nvSpPr>
        <dsp:cNvPr id="0" name=""/>
        <dsp:cNvSpPr/>
      </dsp:nvSpPr>
      <dsp:spPr>
        <a:xfrm>
          <a:off x="8137516" y="938105"/>
          <a:ext cx="3017811" cy="851393"/>
        </a:xfrm>
        <a:prstGeom prst="rightArrow">
          <a:avLst>
            <a:gd name="adj1" fmla="val 75000"/>
            <a:gd name="adj2" fmla="val 50000"/>
          </a:avLst>
        </a:prstGeom>
        <a:solidFill>
          <a:schemeClr val="accent3">
            <a:tint val="40000"/>
            <a:alpha val="90000"/>
            <a:hueOff val="2507691"/>
            <a:satOff val="-13215"/>
            <a:lumOff val="-1824"/>
            <a:alphaOff val="0"/>
          </a:schemeClr>
        </a:solidFill>
        <a:ln w="12700" cap="flat" cmpd="sng" algn="ctr">
          <a:solidFill>
            <a:schemeClr val="accent3">
              <a:tint val="40000"/>
              <a:alpha val="90000"/>
              <a:hueOff val="2507691"/>
              <a:satOff val="-13215"/>
              <a:lumOff val="-1824"/>
              <a:alphaOff val="0"/>
            </a:schemeClr>
          </a:solidFill>
          <a:prstDash val="solid"/>
          <a:miter lim="800000"/>
        </a:ln>
        <a:effectLst/>
      </dsp:spPr>
      <dsp:style>
        <a:lnRef idx="2">
          <a:scrgbClr r="0" g="0" b="0"/>
        </a:lnRef>
        <a:fillRef idx="1">
          <a:scrgbClr r="0" g="0" b="0"/>
        </a:fillRef>
        <a:effectRef idx="0">
          <a:scrgbClr r="0" g="0" b="0"/>
        </a:effectRef>
        <a:fontRef idx="minor"/>
      </dsp:style>
    </dsp:sp>
    <dsp:sp modelId="{2F866B77-1D63-455B-8A9E-750EEA115453}">
      <dsp:nvSpPr>
        <dsp:cNvPr id="0" name=""/>
        <dsp:cNvSpPr/>
      </dsp:nvSpPr>
      <dsp:spPr>
        <a:xfrm>
          <a:off x="4797" y="938105"/>
          <a:ext cx="8132719" cy="851393"/>
        </a:xfrm>
        <a:prstGeom prst="roundRect">
          <a:avLst/>
        </a:prstGeom>
        <a:solidFill>
          <a:schemeClr val="accent3">
            <a:hueOff val="2424061"/>
            <a:satOff val="-5484"/>
            <a:lumOff val="-95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l" defTabSz="711200">
            <a:lnSpc>
              <a:spcPct val="90000"/>
            </a:lnSpc>
            <a:spcBef>
              <a:spcPct val="0"/>
            </a:spcBef>
            <a:spcAft>
              <a:spcPct val="35000"/>
            </a:spcAft>
            <a:buNone/>
          </a:pPr>
          <a:r>
            <a:rPr lang="en-US" sz="1600" kern="1200"/>
            <a:t>In Washington DC, </a:t>
          </a:r>
          <a:r>
            <a:rPr lang="en-US" sz="1600" u="sng" kern="1200"/>
            <a:t>Senate Majority Leader Chuck Schumer </a:t>
          </a:r>
          <a:r>
            <a:rPr lang="en-US" sz="1600" kern="1200"/>
            <a:t>in April announced a framework for regulating artificial intelligence and has called for “comprehensive bipartisan legislation.”  </a:t>
          </a:r>
        </a:p>
      </dsp:txBody>
      <dsp:txXfrm>
        <a:off x="46359" y="979667"/>
        <a:ext cx="8049595" cy="768269"/>
      </dsp:txXfrm>
    </dsp:sp>
    <dsp:sp modelId="{858F8CD2-55F7-482E-9A75-FB7B379B1F24}">
      <dsp:nvSpPr>
        <dsp:cNvPr id="0" name=""/>
        <dsp:cNvSpPr/>
      </dsp:nvSpPr>
      <dsp:spPr>
        <a:xfrm>
          <a:off x="8137516" y="1874638"/>
          <a:ext cx="3017811" cy="851393"/>
        </a:xfrm>
        <a:prstGeom prst="rightArrow">
          <a:avLst>
            <a:gd name="adj1" fmla="val 75000"/>
            <a:gd name="adj2" fmla="val 50000"/>
          </a:avLst>
        </a:prstGeom>
        <a:solidFill>
          <a:schemeClr val="accent3">
            <a:tint val="40000"/>
            <a:alpha val="90000"/>
            <a:hueOff val="5015383"/>
            <a:satOff val="-26429"/>
            <a:lumOff val="-3649"/>
            <a:alphaOff val="0"/>
          </a:schemeClr>
        </a:solidFill>
        <a:ln w="12700" cap="flat" cmpd="sng" algn="ctr">
          <a:solidFill>
            <a:schemeClr val="accent3">
              <a:tint val="40000"/>
              <a:alpha val="90000"/>
              <a:hueOff val="5015383"/>
              <a:satOff val="-26429"/>
              <a:lumOff val="-3649"/>
              <a:alphaOff val="0"/>
            </a:schemeClr>
          </a:solidFill>
          <a:prstDash val="solid"/>
          <a:miter lim="800000"/>
        </a:ln>
        <a:effectLst/>
      </dsp:spPr>
      <dsp:style>
        <a:lnRef idx="2">
          <a:scrgbClr r="0" g="0" b="0"/>
        </a:lnRef>
        <a:fillRef idx="1">
          <a:scrgbClr r="0" g="0" b="0"/>
        </a:fillRef>
        <a:effectRef idx="0">
          <a:scrgbClr r="0" g="0" b="0"/>
        </a:effectRef>
        <a:fontRef idx="minor"/>
      </dsp:style>
    </dsp:sp>
    <dsp:sp modelId="{97383841-5445-4C06-A8F7-DCFD392B47D1}">
      <dsp:nvSpPr>
        <dsp:cNvPr id="0" name=""/>
        <dsp:cNvSpPr/>
      </dsp:nvSpPr>
      <dsp:spPr>
        <a:xfrm>
          <a:off x="4797" y="1874638"/>
          <a:ext cx="8132719" cy="851393"/>
        </a:xfrm>
        <a:prstGeom prst="roundRect">
          <a:avLst/>
        </a:prstGeom>
        <a:solidFill>
          <a:schemeClr val="accent3">
            <a:hueOff val="4848122"/>
            <a:satOff val="-10967"/>
            <a:lumOff val="-191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l" defTabSz="711200">
            <a:lnSpc>
              <a:spcPct val="90000"/>
            </a:lnSpc>
            <a:spcBef>
              <a:spcPct val="0"/>
            </a:spcBef>
            <a:spcAft>
              <a:spcPct val="35000"/>
            </a:spcAft>
            <a:buNone/>
          </a:pPr>
          <a:r>
            <a:rPr lang="en-US" sz="1600" kern="1200"/>
            <a:t>Similar to the EU’s data privacy law (GDPR) that serves as the de-facto global privacy regulatory standard, the </a:t>
          </a:r>
          <a:r>
            <a:rPr lang="en-US" sz="1600" u="sng" kern="1200"/>
            <a:t>EU’s AI Act </a:t>
          </a:r>
          <a:r>
            <a:rPr lang="en-US" sz="1600" kern="1200"/>
            <a:t>signals hard law AI regulation on the horizon, possibly by the end of the calendar year.  </a:t>
          </a:r>
        </a:p>
      </dsp:txBody>
      <dsp:txXfrm>
        <a:off x="46359" y="1916200"/>
        <a:ext cx="8049595" cy="768269"/>
      </dsp:txXfrm>
    </dsp:sp>
    <dsp:sp modelId="{C3787674-2831-4F8D-9E4F-8EC53DB532EB}">
      <dsp:nvSpPr>
        <dsp:cNvPr id="0" name=""/>
        <dsp:cNvSpPr/>
      </dsp:nvSpPr>
      <dsp:spPr>
        <a:xfrm>
          <a:off x="8137516" y="2811171"/>
          <a:ext cx="3017811" cy="851393"/>
        </a:xfrm>
        <a:prstGeom prst="rightArrow">
          <a:avLst>
            <a:gd name="adj1" fmla="val 75000"/>
            <a:gd name="adj2" fmla="val 50000"/>
          </a:avLst>
        </a:prstGeom>
        <a:solidFill>
          <a:schemeClr val="accent3">
            <a:tint val="40000"/>
            <a:alpha val="90000"/>
            <a:hueOff val="7523074"/>
            <a:satOff val="-39644"/>
            <a:lumOff val="-5473"/>
            <a:alphaOff val="0"/>
          </a:schemeClr>
        </a:solidFill>
        <a:ln w="12700" cap="flat" cmpd="sng" algn="ctr">
          <a:solidFill>
            <a:schemeClr val="accent3">
              <a:tint val="40000"/>
              <a:alpha val="90000"/>
              <a:hueOff val="7523074"/>
              <a:satOff val="-39644"/>
              <a:lumOff val="-5473"/>
              <a:alphaOff val="0"/>
            </a:schemeClr>
          </a:solidFill>
          <a:prstDash val="solid"/>
          <a:miter lim="800000"/>
        </a:ln>
        <a:effectLst/>
      </dsp:spPr>
      <dsp:style>
        <a:lnRef idx="2">
          <a:scrgbClr r="0" g="0" b="0"/>
        </a:lnRef>
        <a:fillRef idx="1">
          <a:scrgbClr r="0" g="0" b="0"/>
        </a:fillRef>
        <a:effectRef idx="0">
          <a:scrgbClr r="0" g="0" b="0"/>
        </a:effectRef>
        <a:fontRef idx="minor"/>
      </dsp:style>
    </dsp:sp>
    <dsp:sp modelId="{8E2965EB-DABC-4E61-884C-9810F5678704}">
      <dsp:nvSpPr>
        <dsp:cNvPr id="0" name=""/>
        <dsp:cNvSpPr/>
      </dsp:nvSpPr>
      <dsp:spPr>
        <a:xfrm>
          <a:off x="4797" y="2811171"/>
          <a:ext cx="8132719" cy="851393"/>
        </a:xfrm>
        <a:prstGeom prst="roundRect">
          <a:avLst/>
        </a:prstGeom>
        <a:solidFill>
          <a:schemeClr val="accent3">
            <a:hueOff val="7272184"/>
            <a:satOff val="-16451"/>
            <a:lumOff val="-286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l" defTabSz="711200">
            <a:lnSpc>
              <a:spcPct val="90000"/>
            </a:lnSpc>
            <a:spcBef>
              <a:spcPct val="0"/>
            </a:spcBef>
            <a:spcAft>
              <a:spcPct val="35000"/>
            </a:spcAft>
            <a:buNone/>
          </a:pPr>
          <a:r>
            <a:rPr lang="en-US" sz="1600" kern="1200"/>
            <a:t>The </a:t>
          </a:r>
          <a:r>
            <a:rPr lang="en-US" sz="1600" u="sng" kern="1200"/>
            <a:t>Biden Administration</a:t>
          </a:r>
          <a:r>
            <a:rPr lang="en-US" sz="1600" u="none" kern="1200"/>
            <a:t> hosted an </a:t>
          </a:r>
          <a:r>
            <a:rPr lang="en-US" sz="1600" kern="1200"/>
            <a:t>AI Summit with generative AI tech leaders in May indicating White House recognition of the urgency to act on AI.    </a:t>
          </a:r>
        </a:p>
      </dsp:txBody>
      <dsp:txXfrm>
        <a:off x="46359" y="2852733"/>
        <a:ext cx="8049595" cy="768269"/>
      </dsp:txXfrm>
    </dsp:sp>
    <dsp:sp modelId="{50B9118E-2583-44C2-8CEF-CD051BD36D40}">
      <dsp:nvSpPr>
        <dsp:cNvPr id="0" name=""/>
        <dsp:cNvSpPr/>
      </dsp:nvSpPr>
      <dsp:spPr>
        <a:xfrm>
          <a:off x="8137516" y="3747703"/>
          <a:ext cx="3017811" cy="851393"/>
        </a:xfrm>
        <a:prstGeom prst="rightArrow">
          <a:avLst>
            <a:gd name="adj1" fmla="val 75000"/>
            <a:gd name="adj2" fmla="val 50000"/>
          </a:avLst>
        </a:prstGeom>
        <a:solidFill>
          <a:schemeClr val="accent3">
            <a:tint val="40000"/>
            <a:alpha val="90000"/>
            <a:hueOff val="10030766"/>
            <a:satOff val="-52858"/>
            <a:lumOff val="-7298"/>
            <a:alphaOff val="0"/>
          </a:schemeClr>
        </a:solidFill>
        <a:ln w="12700" cap="flat" cmpd="sng" algn="ctr">
          <a:solidFill>
            <a:schemeClr val="accent3">
              <a:tint val="40000"/>
              <a:alpha val="90000"/>
              <a:hueOff val="10030766"/>
              <a:satOff val="-52858"/>
              <a:lumOff val="-7298"/>
              <a:alphaOff val="0"/>
            </a:schemeClr>
          </a:solidFill>
          <a:prstDash val="solid"/>
          <a:miter lim="800000"/>
        </a:ln>
        <a:effectLst/>
      </dsp:spPr>
      <dsp:style>
        <a:lnRef idx="2">
          <a:scrgbClr r="0" g="0" b="0"/>
        </a:lnRef>
        <a:fillRef idx="1">
          <a:scrgbClr r="0" g="0" b="0"/>
        </a:fillRef>
        <a:effectRef idx="0">
          <a:scrgbClr r="0" g="0" b="0"/>
        </a:effectRef>
        <a:fontRef idx="minor"/>
      </dsp:style>
    </dsp:sp>
    <dsp:sp modelId="{B30B0DEF-5263-482E-A9E2-D53C1D6BB6F9}">
      <dsp:nvSpPr>
        <dsp:cNvPr id="0" name=""/>
        <dsp:cNvSpPr/>
      </dsp:nvSpPr>
      <dsp:spPr>
        <a:xfrm>
          <a:off x="4797" y="3747703"/>
          <a:ext cx="8132719" cy="851393"/>
        </a:xfrm>
        <a:prstGeom prst="roundRect">
          <a:avLst/>
        </a:prstGeom>
        <a:solidFill>
          <a:schemeClr val="accent3">
            <a:hueOff val="9696245"/>
            <a:satOff val="-21935"/>
            <a:lumOff val="-382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l" defTabSz="711200">
            <a:lnSpc>
              <a:spcPct val="90000"/>
            </a:lnSpc>
            <a:spcBef>
              <a:spcPct val="0"/>
            </a:spcBef>
            <a:spcAft>
              <a:spcPct val="35000"/>
            </a:spcAft>
            <a:buNone/>
          </a:pPr>
          <a:r>
            <a:rPr lang="en-US" sz="1600" u="sng" kern="1200"/>
            <a:t>Common themes </a:t>
          </a:r>
          <a:r>
            <a:rPr lang="en-US" sz="1600" kern="1200"/>
            <a:t>for emerging regulatory requirements of AI systems: Transparency and </a:t>
          </a:r>
          <a:r>
            <a:rPr lang="en-US" sz="1600" kern="1200" err="1"/>
            <a:t>Explainability</a:t>
          </a:r>
          <a:r>
            <a:rPr lang="en-US" sz="1600" kern="1200"/>
            <a:t>, Accuracy, Robustness and security, Accountability, Human values and fairness</a:t>
          </a:r>
        </a:p>
      </dsp:txBody>
      <dsp:txXfrm>
        <a:off x="46359" y="3789265"/>
        <a:ext cx="8049595" cy="76826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DE948A-2E88-4F2F-95C4-640BAE640DCA}">
      <dsp:nvSpPr>
        <dsp:cNvPr id="0" name=""/>
        <dsp:cNvSpPr/>
      </dsp:nvSpPr>
      <dsp:spPr>
        <a:xfrm>
          <a:off x="2238553" y="700225"/>
          <a:ext cx="486763" cy="91440"/>
        </a:xfrm>
        <a:custGeom>
          <a:avLst/>
          <a:gdLst/>
          <a:ahLst/>
          <a:cxnLst/>
          <a:rect l="0" t="0" r="0" b="0"/>
          <a:pathLst>
            <a:path>
              <a:moveTo>
                <a:pt x="0" y="45720"/>
              </a:moveTo>
              <a:lnTo>
                <a:pt x="260481" y="45720"/>
              </a:lnTo>
              <a:lnTo>
                <a:pt x="260481" y="60412"/>
              </a:lnTo>
              <a:lnTo>
                <a:pt x="486763" y="60412"/>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2468996" y="743369"/>
        <a:ext cx="25878" cy="5152"/>
      </dsp:txXfrm>
    </dsp:sp>
    <dsp:sp modelId="{D9961774-D812-461B-BE67-7F34A1469AD6}">
      <dsp:nvSpPr>
        <dsp:cNvPr id="0" name=""/>
        <dsp:cNvSpPr/>
      </dsp:nvSpPr>
      <dsp:spPr>
        <a:xfrm>
          <a:off x="7" y="73842"/>
          <a:ext cx="2240345" cy="1344207"/>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GB" sz="1700" kern="1200">
              <a:solidFill>
                <a:schemeClr val="tx1"/>
              </a:solidFill>
            </a:rPr>
            <a:t>19 February 2020 - Commission’s “White Paper on AI”</a:t>
          </a:r>
        </a:p>
      </dsp:txBody>
      <dsp:txXfrm>
        <a:off x="7" y="73842"/>
        <a:ext cx="2240345" cy="1344207"/>
      </dsp:txXfrm>
    </dsp:sp>
    <dsp:sp modelId="{CD003AA9-D498-4DA9-8EFA-149BA42A1385}">
      <dsp:nvSpPr>
        <dsp:cNvPr id="0" name=""/>
        <dsp:cNvSpPr/>
      </dsp:nvSpPr>
      <dsp:spPr>
        <a:xfrm>
          <a:off x="4996262" y="714917"/>
          <a:ext cx="484679" cy="91440"/>
        </a:xfrm>
        <a:custGeom>
          <a:avLst/>
          <a:gdLst/>
          <a:ahLst/>
          <a:cxnLst/>
          <a:rect l="0" t="0" r="0" b="0"/>
          <a:pathLst>
            <a:path>
              <a:moveTo>
                <a:pt x="0" y="45720"/>
              </a:moveTo>
              <a:lnTo>
                <a:pt x="484679" y="45720"/>
              </a:lnTo>
            </a:path>
          </a:pathLst>
        </a:custGeom>
        <a:noFill/>
        <a:ln w="6350" cap="flat" cmpd="sng" algn="ctr">
          <a:solidFill>
            <a:schemeClr val="accent3">
              <a:hueOff val="1616041"/>
              <a:satOff val="-3656"/>
              <a:lumOff val="-637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5225720" y="758061"/>
        <a:ext cx="25763" cy="5152"/>
      </dsp:txXfrm>
    </dsp:sp>
    <dsp:sp modelId="{A286C9B8-ECB9-4E2F-90DE-FBC841572CF9}">
      <dsp:nvSpPr>
        <dsp:cNvPr id="0" name=""/>
        <dsp:cNvSpPr/>
      </dsp:nvSpPr>
      <dsp:spPr>
        <a:xfrm>
          <a:off x="2757716" y="88534"/>
          <a:ext cx="2240345" cy="1344207"/>
        </a:xfrm>
        <a:prstGeom prst="rect">
          <a:avLst/>
        </a:prstGeom>
        <a:solidFill>
          <a:schemeClr val="accent3">
            <a:hueOff val="1385178"/>
            <a:satOff val="-3134"/>
            <a:lumOff val="-54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GB" sz="1700" kern="1200"/>
            <a:t>21 April 2021 Commission’s Draft “AI Act”</a:t>
          </a:r>
        </a:p>
      </dsp:txBody>
      <dsp:txXfrm>
        <a:off x="2757716" y="88534"/>
        <a:ext cx="2240345" cy="1344207"/>
      </dsp:txXfrm>
    </dsp:sp>
    <dsp:sp modelId="{895DA4C2-42FF-40D6-B851-82E098D2B596}">
      <dsp:nvSpPr>
        <dsp:cNvPr id="0" name=""/>
        <dsp:cNvSpPr/>
      </dsp:nvSpPr>
      <dsp:spPr>
        <a:xfrm>
          <a:off x="7751888" y="714917"/>
          <a:ext cx="484679" cy="91440"/>
        </a:xfrm>
        <a:custGeom>
          <a:avLst/>
          <a:gdLst/>
          <a:ahLst/>
          <a:cxnLst/>
          <a:rect l="0" t="0" r="0" b="0"/>
          <a:pathLst>
            <a:path>
              <a:moveTo>
                <a:pt x="0" y="45720"/>
              </a:moveTo>
              <a:lnTo>
                <a:pt x="484679" y="45720"/>
              </a:lnTo>
            </a:path>
          </a:pathLst>
        </a:custGeom>
        <a:noFill/>
        <a:ln w="6350" cap="flat" cmpd="sng" algn="ctr">
          <a:solidFill>
            <a:schemeClr val="accent3">
              <a:hueOff val="3232082"/>
              <a:satOff val="-7312"/>
              <a:lumOff val="-12745"/>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7981345" y="758061"/>
        <a:ext cx="25763" cy="5152"/>
      </dsp:txXfrm>
    </dsp:sp>
    <dsp:sp modelId="{F009137C-05E9-4617-A9DE-4D23A9CD6286}">
      <dsp:nvSpPr>
        <dsp:cNvPr id="0" name=""/>
        <dsp:cNvSpPr/>
      </dsp:nvSpPr>
      <dsp:spPr>
        <a:xfrm>
          <a:off x="5513342" y="88534"/>
          <a:ext cx="2240345" cy="1344207"/>
        </a:xfrm>
        <a:prstGeom prst="rect">
          <a:avLst/>
        </a:prstGeom>
        <a:solidFill>
          <a:schemeClr val="accent3">
            <a:hueOff val="2770356"/>
            <a:satOff val="-6267"/>
            <a:lumOff val="-109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GB" sz="1700" kern="1200"/>
            <a:t>17 June 2022 - First Compromise Proposal</a:t>
          </a:r>
        </a:p>
      </dsp:txBody>
      <dsp:txXfrm>
        <a:off x="5513342" y="88534"/>
        <a:ext cx="2240345" cy="1344207"/>
      </dsp:txXfrm>
    </dsp:sp>
    <dsp:sp modelId="{B3FD9534-7B05-4DBB-81B1-3DD43A1A0530}">
      <dsp:nvSpPr>
        <dsp:cNvPr id="0" name=""/>
        <dsp:cNvSpPr/>
      </dsp:nvSpPr>
      <dsp:spPr>
        <a:xfrm>
          <a:off x="1122264" y="1430941"/>
          <a:ext cx="8266876" cy="484679"/>
        </a:xfrm>
        <a:custGeom>
          <a:avLst/>
          <a:gdLst/>
          <a:ahLst/>
          <a:cxnLst/>
          <a:rect l="0" t="0" r="0" b="0"/>
          <a:pathLst>
            <a:path>
              <a:moveTo>
                <a:pt x="8266876" y="0"/>
              </a:moveTo>
              <a:lnTo>
                <a:pt x="8266876" y="259439"/>
              </a:lnTo>
              <a:lnTo>
                <a:pt x="0" y="259439"/>
              </a:lnTo>
              <a:lnTo>
                <a:pt x="0" y="484679"/>
              </a:lnTo>
            </a:path>
          </a:pathLst>
        </a:custGeom>
        <a:noFill/>
        <a:ln w="6350" cap="flat" cmpd="sng" algn="ctr">
          <a:solidFill>
            <a:schemeClr val="accent3">
              <a:hueOff val="4848122"/>
              <a:satOff val="-10967"/>
              <a:lumOff val="-19118"/>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5048629" y="1670705"/>
        <a:ext cx="414145" cy="5152"/>
      </dsp:txXfrm>
    </dsp:sp>
    <dsp:sp modelId="{0C2C66D9-4904-4744-9EEF-EA02552C194D}">
      <dsp:nvSpPr>
        <dsp:cNvPr id="0" name=""/>
        <dsp:cNvSpPr/>
      </dsp:nvSpPr>
      <dsp:spPr>
        <a:xfrm>
          <a:off x="8268967" y="88534"/>
          <a:ext cx="2240345" cy="1344207"/>
        </a:xfrm>
        <a:prstGeom prst="rect">
          <a:avLst/>
        </a:prstGeom>
        <a:solidFill>
          <a:schemeClr val="accent3">
            <a:hueOff val="4155534"/>
            <a:satOff val="-9401"/>
            <a:lumOff val="-1638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GB" sz="1700" kern="1200"/>
            <a:t>6</a:t>
          </a:r>
          <a:r>
            <a:rPr lang="en-GB" sz="1700" kern="1200" baseline="30000"/>
            <a:t>th</a:t>
          </a:r>
          <a:r>
            <a:rPr lang="en-GB" sz="1700" kern="1200"/>
            <a:t> Dec 2022 – Council adopts its text </a:t>
          </a:r>
        </a:p>
      </dsp:txBody>
      <dsp:txXfrm>
        <a:off x="8268967" y="88534"/>
        <a:ext cx="2240345" cy="1344207"/>
      </dsp:txXfrm>
    </dsp:sp>
    <dsp:sp modelId="{8394483D-20D5-40D8-BE27-0263A200827C}">
      <dsp:nvSpPr>
        <dsp:cNvPr id="0" name=""/>
        <dsp:cNvSpPr/>
      </dsp:nvSpPr>
      <dsp:spPr>
        <a:xfrm>
          <a:off x="2240637" y="2574405"/>
          <a:ext cx="484679" cy="91440"/>
        </a:xfrm>
        <a:custGeom>
          <a:avLst/>
          <a:gdLst/>
          <a:ahLst/>
          <a:cxnLst/>
          <a:rect l="0" t="0" r="0" b="0"/>
          <a:pathLst>
            <a:path>
              <a:moveTo>
                <a:pt x="0" y="45720"/>
              </a:moveTo>
              <a:lnTo>
                <a:pt x="484679" y="45720"/>
              </a:lnTo>
            </a:path>
          </a:pathLst>
        </a:custGeom>
        <a:noFill/>
        <a:ln w="6350" cap="flat" cmpd="sng" algn="ctr">
          <a:solidFill>
            <a:schemeClr val="accent3">
              <a:hueOff val="6464163"/>
              <a:satOff val="-14623"/>
              <a:lumOff val="-25491"/>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2470095" y="2617548"/>
        <a:ext cx="25763" cy="5152"/>
      </dsp:txXfrm>
    </dsp:sp>
    <dsp:sp modelId="{A0FA22EE-A756-4B5D-B3E2-6147839C133E}">
      <dsp:nvSpPr>
        <dsp:cNvPr id="0" name=""/>
        <dsp:cNvSpPr/>
      </dsp:nvSpPr>
      <dsp:spPr>
        <a:xfrm>
          <a:off x="2091" y="1948021"/>
          <a:ext cx="2240345" cy="1344207"/>
        </a:xfrm>
        <a:prstGeom prst="rect">
          <a:avLst/>
        </a:prstGeom>
        <a:solidFill>
          <a:schemeClr val="accent3">
            <a:hueOff val="5540712"/>
            <a:satOff val="-12534"/>
            <a:lumOff val="-218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GB" sz="1700" kern="1200" dirty="0"/>
            <a:t>Parliament adopts its text May 2023</a:t>
          </a:r>
        </a:p>
      </dsp:txBody>
      <dsp:txXfrm>
        <a:off x="2091" y="1948021"/>
        <a:ext cx="2240345" cy="1344207"/>
      </dsp:txXfrm>
    </dsp:sp>
    <dsp:sp modelId="{59E4D7AA-742A-4673-BB65-27FB63423507}">
      <dsp:nvSpPr>
        <dsp:cNvPr id="0" name=""/>
        <dsp:cNvSpPr/>
      </dsp:nvSpPr>
      <dsp:spPr>
        <a:xfrm>
          <a:off x="4996262" y="2574405"/>
          <a:ext cx="484679" cy="91440"/>
        </a:xfrm>
        <a:custGeom>
          <a:avLst/>
          <a:gdLst/>
          <a:ahLst/>
          <a:cxnLst/>
          <a:rect l="0" t="0" r="0" b="0"/>
          <a:pathLst>
            <a:path>
              <a:moveTo>
                <a:pt x="0" y="45720"/>
              </a:moveTo>
              <a:lnTo>
                <a:pt x="484679" y="45720"/>
              </a:lnTo>
            </a:path>
          </a:pathLst>
        </a:custGeom>
        <a:noFill/>
        <a:ln w="6350" cap="flat" cmpd="sng" algn="ctr">
          <a:solidFill>
            <a:schemeClr val="accent3">
              <a:hueOff val="8080204"/>
              <a:satOff val="-18279"/>
              <a:lumOff val="-3186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5225720" y="2617548"/>
        <a:ext cx="25763" cy="5152"/>
      </dsp:txXfrm>
    </dsp:sp>
    <dsp:sp modelId="{BF1B210E-FB32-439B-A8D4-D573669AAD15}">
      <dsp:nvSpPr>
        <dsp:cNvPr id="0" name=""/>
        <dsp:cNvSpPr/>
      </dsp:nvSpPr>
      <dsp:spPr>
        <a:xfrm>
          <a:off x="2757716" y="1948021"/>
          <a:ext cx="2240345" cy="1344207"/>
        </a:xfrm>
        <a:prstGeom prst="rect">
          <a:avLst/>
        </a:prstGeom>
        <a:solidFill>
          <a:schemeClr val="accent3">
            <a:hueOff val="6925889"/>
            <a:satOff val="-15668"/>
            <a:lumOff val="-273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GB" sz="1700" kern="1200"/>
            <a:t>Trilogues July – Jan 2024: Political Agreement reached – 8</a:t>
          </a:r>
          <a:r>
            <a:rPr lang="en-GB" sz="1700" kern="1200" baseline="30000"/>
            <a:t>th</a:t>
          </a:r>
          <a:r>
            <a:rPr lang="en-GB" sz="1700" kern="1200"/>
            <a:t> Jan 2024</a:t>
          </a:r>
        </a:p>
      </dsp:txBody>
      <dsp:txXfrm>
        <a:off x="2757716" y="1948021"/>
        <a:ext cx="2240345" cy="1344207"/>
      </dsp:txXfrm>
    </dsp:sp>
    <dsp:sp modelId="{84826EB9-C9DC-47E0-834C-788DD6EB37AA}">
      <dsp:nvSpPr>
        <dsp:cNvPr id="0" name=""/>
        <dsp:cNvSpPr/>
      </dsp:nvSpPr>
      <dsp:spPr>
        <a:xfrm>
          <a:off x="7751888" y="2574405"/>
          <a:ext cx="484679" cy="91440"/>
        </a:xfrm>
        <a:custGeom>
          <a:avLst/>
          <a:gdLst/>
          <a:ahLst/>
          <a:cxnLst/>
          <a:rect l="0" t="0" r="0" b="0"/>
          <a:pathLst>
            <a:path>
              <a:moveTo>
                <a:pt x="0" y="45720"/>
              </a:moveTo>
              <a:lnTo>
                <a:pt x="484679" y="45720"/>
              </a:lnTo>
            </a:path>
          </a:pathLst>
        </a:custGeom>
        <a:noFill/>
        <a:ln w="6350" cap="flat" cmpd="sng" algn="ctr">
          <a:solidFill>
            <a:schemeClr val="accent3">
              <a:hueOff val="9696245"/>
              <a:satOff val="-21935"/>
              <a:lumOff val="-38236"/>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GB" sz="500" kern="1200"/>
        </a:p>
      </dsp:txBody>
      <dsp:txXfrm>
        <a:off x="7981345" y="2617548"/>
        <a:ext cx="25763" cy="5152"/>
      </dsp:txXfrm>
    </dsp:sp>
    <dsp:sp modelId="{FB99CCCC-EF41-4CC7-8194-A4DCBECFE308}">
      <dsp:nvSpPr>
        <dsp:cNvPr id="0" name=""/>
        <dsp:cNvSpPr/>
      </dsp:nvSpPr>
      <dsp:spPr>
        <a:xfrm>
          <a:off x="5513342" y="1948021"/>
          <a:ext cx="2240345" cy="1344207"/>
        </a:xfrm>
        <a:prstGeom prst="rect">
          <a:avLst/>
        </a:prstGeom>
        <a:solidFill>
          <a:schemeClr val="accent3">
            <a:hueOff val="8311068"/>
            <a:satOff val="-18801"/>
            <a:lumOff val="-3277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GB" sz="1700" kern="1200"/>
            <a:t>Parliament votes 13 March 2024 – passes overwhelmingly</a:t>
          </a:r>
        </a:p>
      </dsp:txBody>
      <dsp:txXfrm>
        <a:off x="5513342" y="1948021"/>
        <a:ext cx="2240345" cy="1344207"/>
      </dsp:txXfrm>
    </dsp:sp>
    <dsp:sp modelId="{CEF272FC-3279-4C2C-9B57-6B85AA20DD7C}">
      <dsp:nvSpPr>
        <dsp:cNvPr id="0" name=""/>
        <dsp:cNvSpPr/>
      </dsp:nvSpPr>
      <dsp:spPr>
        <a:xfrm>
          <a:off x="8268967" y="1948021"/>
          <a:ext cx="2240345" cy="1344207"/>
        </a:xfrm>
        <a:prstGeom prst="rect">
          <a:avLst/>
        </a:prstGeom>
        <a:solidFill>
          <a:schemeClr val="accent3">
            <a:hueOff val="9696245"/>
            <a:satOff val="-21935"/>
            <a:lumOff val="-382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marL="0" lvl="0" indent="0" algn="ctr" defTabSz="755650">
            <a:lnSpc>
              <a:spcPct val="90000"/>
            </a:lnSpc>
            <a:spcBef>
              <a:spcPct val="0"/>
            </a:spcBef>
            <a:spcAft>
              <a:spcPct val="35000"/>
            </a:spcAft>
            <a:buNone/>
          </a:pPr>
          <a:r>
            <a:rPr lang="en-GB" sz="1700" kern="1200" dirty="0"/>
            <a:t>OJEU publication expected April / May ‘24</a:t>
          </a:r>
        </a:p>
      </dsp:txBody>
      <dsp:txXfrm>
        <a:off x="8268967" y="1948021"/>
        <a:ext cx="2240345" cy="134420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675537-EE9F-4325-A94A-1E2E3E7ED0E5}">
      <dsp:nvSpPr>
        <dsp:cNvPr id="0" name=""/>
        <dsp:cNvSpPr/>
      </dsp:nvSpPr>
      <dsp:spPr>
        <a:xfrm>
          <a:off x="2333264" y="1427811"/>
          <a:ext cx="1814810" cy="1569884"/>
        </a:xfrm>
        <a:prstGeom prst="hexagon">
          <a:avLst>
            <a:gd name="adj" fmla="val 28570"/>
            <a:gd name="vf" fmla="val 11547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AI literacy</a:t>
          </a:r>
        </a:p>
      </dsp:txBody>
      <dsp:txXfrm>
        <a:off x="2634003" y="1687963"/>
        <a:ext cx="1213332" cy="1049580"/>
      </dsp:txXfrm>
    </dsp:sp>
    <dsp:sp modelId="{A1013411-0D1E-480B-9E39-2EB6035FBFDC}">
      <dsp:nvSpPr>
        <dsp:cNvPr id="0" name=""/>
        <dsp:cNvSpPr/>
      </dsp:nvSpPr>
      <dsp:spPr>
        <a:xfrm>
          <a:off x="3469684" y="676727"/>
          <a:ext cx="684722" cy="58997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4F31D3-B991-40B1-98B7-D713265EC0E5}">
      <dsp:nvSpPr>
        <dsp:cNvPr id="0" name=""/>
        <dsp:cNvSpPr/>
      </dsp:nvSpPr>
      <dsp:spPr>
        <a:xfrm>
          <a:off x="2500434" y="0"/>
          <a:ext cx="1487224" cy="128662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t>Human agency and oversight</a:t>
          </a:r>
        </a:p>
      </dsp:txBody>
      <dsp:txXfrm>
        <a:off x="2746899" y="213221"/>
        <a:ext cx="994294" cy="860181"/>
      </dsp:txXfrm>
    </dsp:sp>
    <dsp:sp modelId="{ED929CA4-A33D-43FC-A2B6-3F106EA71202}">
      <dsp:nvSpPr>
        <dsp:cNvPr id="0" name=""/>
        <dsp:cNvSpPr/>
      </dsp:nvSpPr>
      <dsp:spPr>
        <a:xfrm>
          <a:off x="4268808" y="1779674"/>
          <a:ext cx="684722" cy="58997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CF38482-EEE0-470A-B6E9-F62474F91637}">
      <dsp:nvSpPr>
        <dsp:cNvPr id="0" name=""/>
        <dsp:cNvSpPr/>
      </dsp:nvSpPr>
      <dsp:spPr>
        <a:xfrm>
          <a:off x="3864391" y="791359"/>
          <a:ext cx="1487224" cy="128662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t>Technical robustness and safety</a:t>
          </a:r>
        </a:p>
      </dsp:txBody>
      <dsp:txXfrm>
        <a:off x="4110856" y="1004580"/>
        <a:ext cx="994294" cy="860181"/>
      </dsp:txXfrm>
    </dsp:sp>
    <dsp:sp modelId="{C6673CBA-8612-4687-8B79-B0EEA1628352}">
      <dsp:nvSpPr>
        <dsp:cNvPr id="0" name=""/>
        <dsp:cNvSpPr/>
      </dsp:nvSpPr>
      <dsp:spPr>
        <a:xfrm>
          <a:off x="3713685" y="3024694"/>
          <a:ext cx="684722" cy="58997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07C3473-E3A4-415E-9B60-F06CC0039E50}">
      <dsp:nvSpPr>
        <dsp:cNvPr id="0" name=""/>
        <dsp:cNvSpPr/>
      </dsp:nvSpPr>
      <dsp:spPr>
        <a:xfrm>
          <a:off x="3864391" y="2347081"/>
          <a:ext cx="1487224" cy="128662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t>Privacy and data governance</a:t>
          </a:r>
        </a:p>
      </dsp:txBody>
      <dsp:txXfrm>
        <a:off x="4110856" y="2560302"/>
        <a:ext cx="994294" cy="860181"/>
      </dsp:txXfrm>
    </dsp:sp>
    <dsp:sp modelId="{F4BFC198-889A-4E24-8D06-1CE2F562C13E}">
      <dsp:nvSpPr>
        <dsp:cNvPr id="0" name=""/>
        <dsp:cNvSpPr/>
      </dsp:nvSpPr>
      <dsp:spPr>
        <a:xfrm>
          <a:off x="2336641" y="3153931"/>
          <a:ext cx="684722" cy="58997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8324443-E7AC-4271-BE01-DCD71B3D3DB3}">
      <dsp:nvSpPr>
        <dsp:cNvPr id="0" name=""/>
        <dsp:cNvSpPr/>
      </dsp:nvSpPr>
      <dsp:spPr>
        <a:xfrm>
          <a:off x="2500434" y="3139326"/>
          <a:ext cx="1487224" cy="128662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t>Transparency</a:t>
          </a:r>
        </a:p>
      </dsp:txBody>
      <dsp:txXfrm>
        <a:off x="2746899" y="3352547"/>
        <a:ext cx="994294" cy="860181"/>
      </dsp:txXfrm>
    </dsp:sp>
    <dsp:sp modelId="{9A8B048F-8B5F-4806-B131-F4F5AEF3322B}">
      <dsp:nvSpPr>
        <dsp:cNvPr id="0" name=""/>
        <dsp:cNvSpPr/>
      </dsp:nvSpPr>
      <dsp:spPr>
        <a:xfrm>
          <a:off x="1524430" y="2051427"/>
          <a:ext cx="684722" cy="589979"/>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DFFACE-723E-411F-89AF-78B4144D6319}">
      <dsp:nvSpPr>
        <dsp:cNvPr id="0" name=""/>
        <dsp:cNvSpPr/>
      </dsp:nvSpPr>
      <dsp:spPr>
        <a:xfrm>
          <a:off x="1130144" y="2347966"/>
          <a:ext cx="1487224" cy="128662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t>Diversity, non-discrimination and fairness</a:t>
          </a:r>
        </a:p>
      </dsp:txBody>
      <dsp:txXfrm>
        <a:off x="1376609" y="2561187"/>
        <a:ext cx="994294" cy="860181"/>
      </dsp:txXfrm>
    </dsp:sp>
    <dsp:sp modelId="{CE63770C-0F6D-4683-BDB9-2A98E56166AE}">
      <dsp:nvSpPr>
        <dsp:cNvPr id="0" name=""/>
        <dsp:cNvSpPr/>
      </dsp:nvSpPr>
      <dsp:spPr>
        <a:xfrm>
          <a:off x="1130144" y="789589"/>
          <a:ext cx="1487224" cy="128662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t>Social and environmental wellbeing</a:t>
          </a:r>
        </a:p>
      </dsp:txBody>
      <dsp:txXfrm>
        <a:off x="1376609" y="1002810"/>
        <a:ext cx="994294" cy="86018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AD28B2-5ACE-4ACB-8845-ABADBDC3CB82}">
      <dsp:nvSpPr>
        <dsp:cNvPr id="0" name=""/>
        <dsp:cNvSpPr/>
      </dsp:nvSpPr>
      <dsp:spPr>
        <a:xfrm>
          <a:off x="0" y="1775"/>
          <a:ext cx="11160125" cy="936000"/>
        </a:xfrm>
        <a:prstGeom prst="roundRect">
          <a:avLst/>
        </a:prstGeom>
        <a:solidFill>
          <a:schemeClr val="bg1">
            <a:lumMod val="50000"/>
          </a:schemeClr>
        </a:solidFill>
        <a:ln w="12700" cap="flat" cmpd="sng" algn="ctr">
          <a:solidFill>
            <a:schemeClr val="bg2">
              <a:lumMod val="25000"/>
            </a:schemeClr>
          </a:solidFill>
          <a:prstDash val="solid"/>
          <a:miter lim="800000"/>
        </a:ln>
        <a:effectLst/>
      </dsp:spPr>
      <dsp:style>
        <a:lnRef idx="2">
          <a:schemeClr val="dk1">
            <a:shade val="50000"/>
          </a:schemeClr>
        </a:lnRef>
        <a:fillRef idx="1">
          <a:schemeClr val="dk1"/>
        </a:fillRef>
        <a:effectRef idx="0">
          <a:schemeClr val="dk1"/>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rPr>
            <a:t>The AI System is a safety component of products/products themselves governed by the Union Harmonisation Legislation </a:t>
          </a:r>
        </a:p>
      </dsp:txBody>
      <dsp:txXfrm>
        <a:off x="45692" y="47467"/>
        <a:ext cx="11068741" cy="8446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5A242F-CD08-4081-A2A3-E93BFF7CEFFA}">
      <dsp:nvSpPr>
        <dsp:cNvPr id="0" name=""/>
        <dsp:cNvSpPr/>
      </dsp:nvSpPr>
      <dsp:spPr>
        <a:xfrm>
          <a:off x="0" y="583556"/>
          <a:ext cx="4833300" cy="421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Risk Management</a:t>
          </a:r>
        </a:p>
      </dsp:txBody>
      <dsp:txXfrm>
        <a:off x="20561" y="604117"/>
        <a:ext cx="4792178" cy="380078"/>
      </dsp:txXfrm>
    </dsp:sp>
    <dsp:sp modelId="{F6C61AB1-B3E7-4548-A7A6-248161373AC3}">
      <dsp:nvSpPr>
        <dsp:cNvPr id="0" name=""/>
        <dsp:cNvSpPr/>
      </dsp:nvSpPr>
      <dsp:spPr>
        <a:xfrm>
          <a:off x="0" y="1056597"/>
          <a:ext cx="4833300" cy="421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High Quality Data Sets and Data Governance</a:t>
          </a:r>
        </a:p>
      </dsp:txBody>
      <dsp:txXfrm>
        <a:off x="20561" y="1077158"/>
        <a:ext cx="4792178" cy="380078"/>
      </dsp:txXfrm>
    </dsp:sp>
    <dsp:sp modelId="{317889F2-3518-4393-94F8-6620D30E3221}">
      <dsp:nvSpPr>
        <dsp:cNvPr id="0" name=""/>
        <dsp:cNvSpPr/>
      </dsp:nvSpPr>
      <dsp:spPr>
        <a:xfrm>
          <a:off x="0" y="1529637"/>
          <a:ext cx="4833300" cy="421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Technical Documentation </a:t>
          </a:r>
        </a:p>
      </dsp:txBody>
      <dsp:txXfrm>
        <a:off x="20561" y="1550198"/>
        <a:ext cx="4792178" cy="380078"/>
      </dsp:txXfrm>
    </dsp:sp>
    <dsp:sp modelId="{5DF0AE3B-5F3D-4206-A04E-F558BE0D5763}">
      <dsp:nvSpPr>
        <dsp:cNvPr id="0" name=""/>
        <dsp:cNvSpPr/>
      </dsp:nvSpPr>
      <dsp:spPr>
        <a:xfrm>
          <a:off x="0" y="2002677"/>
          <a:ext cx="4833300" cy="421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Record Keeping</a:t>
          </a:r>
        </a:p>
      </dsp:txBody>
      <dsp:txXfrm>
        <a:off x="20561" y="2023238"/>
        <a:ext cx="4792178" cy="380078"/>
      </dsp:txXfrm>
    </dsp:sp>
    <dsp:sp modelId="{25A627DA-6D9F-4037-93C2-E1D9C00C5F77}">
      <dsp:nvSpPr>
        <dsp:cNvPr id="0" name=""/>
        <dsp:cNvSpPr/>
      </dsp:nvSpPr>
      <dsp:spPr>
        <a:xfrm>
          <a:off x="0" y="2475716"/>
          <a:ext cx="4833300" cy="421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Transparency by Design </a:t>
          </a:r>
        </a:p>
      </dsp:txBody>
      <dsp:txXfrm>
        <a:off x="20561" y="2496277"/>
        <a:ext cx="4792178" cy="380078"/>
      </dsp:txXfrm>
    </dsp:sp>
    <dsp:sp modelId="{0A2D7899-1BFE-47AC-94CC-DCEF8A17F3AC}">
      <dsp:nvSpPr>
        <dsp:cNvPr id="0" name=""/>
        <dsp:cNvSpPr/>
      </dsp:nvSpPr>
      <dsp:spPr>
        <a:xfrm>
          <a:off x="0" y="2948757"/>
          <a:ext cx="4833300" cy="421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Human Oversight</a:t>
          </a:r>
        </a:p>
      </dsp:txBody>
      <dsp:txXfrm>
        <a:off x="20561" y="2969318"/>
        <a:ext cx="4792178" cy="380078"/>
      </dsp:txXfrm>
    </dsp:sp>
    <dsp:sp modelId="{A1F567E4-FEE7-4A03-A4F2-46347D86B9EF}">
      <dsp:nvSpPr>
        <dsp:cNvPr id="0" name=""/>
        <dsp:cNvSpPr/>
      </dsp:nvSpPr>
      <dsp:spPr>
        <a:xfrm>
          <a:off x="0" y="3421797"/>
          <a:ext cx="4833300" cy="4212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Accuracy, Robustness and security </a:t>
          </a:r>
        </a:p>
      </dsp:txBody>
      <dsp:txXfrm>
        <a:off x="20561" y="3442358"/>
        <a:ext cx="4792178" cy="38007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5A242F-CD08-4081-A2A3-E93BFF7CEFFA}">
      <dsp:nvSpPr>
        <dsp:cNvPr id="0" name=""/>
        <dsp:cNvSpPr/>
      </dsp:nvSpPr>
      <dsp:spPr>
        <a:xfrm>
          <a:off x="0" y="54277"/>
          <a:ext cx="4833300" cy="49139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Conformity Assessments</a:t>
          </a:r>
        </a:p>
      </dsp:txBody>
      <dsp:txXfrm>
        <a:off x="23988" y="78265"/>
        <a:ext cx="4785324" cy="443423"/>
      </dsp:txXfrm>
    </dsp:sp>
    <dsp:sp modelId="{EDB15EB1-3AA0-4A6C-9420-9A811424B163}">
      <dsp:nvSpPr>
        <dsp:cNvPr id="0" name=""/>
        <dsp:cNvSpPr/>
      </dsp:nvSpPr>
      <dsp:spPr>
        <a:xfrm>
          <a:off x="0" y="606157"/>
          <a:ext cx="4833300" cy="49139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Maintain compliance</a:t>
          </a:r>
        </a:p>
      </dsp:txBody>
      <dsp:txXfrm>
        <a:off x="23988" y="630145"/>
        <a:ext cx="4785324" cy="443423"/>
      </dsp:txXfrm>
    </dsp:sp>
    <dsp:sp modelId="{25EF63C9-0550-44E1-8F05-96C00E9CA1E9}">
      <dsp:nvSpPr>
        <dsp:cNvPr id="0" name=""/>
        <dsp:cNvSpPr/>
      </dsp:nvSpPr>
      <dsp:spPr>
        <a:xfrm>
          <a:off x="0" y="1158037"/>
          <a:ext cx="4833300" cy="49139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Quality Assurance Systems</a:t>
          </a:r>
        </a:p>
      </dsp:txBody>
      <dsp:txXfrm>
        <a:off x="23988" y="1182025"/>
        <a:ext cx="4785324" cy="443423"/>
      </dsp:txXfrm>
    </dsp:sp>
    <dsp:sp modelId="{2F0B5F05-7B4B-4F1C-99A8-03277D9E457A}">
      <dsp:nvSpPr>
        <dsp:cNvPr id="0" name=""/>
        <dsp:cNvSpPr/>
      </dsp:nvSpPr>
      <dsp:spPr>
        <a:xfrm>
          <a:off x="0" y="1709917"/>
          <a:ext cx="4833300" cy="49139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Registration in EU database</a:t>
          </a:r>
        </a:p>
      </dsp:txBody>
      <dsp:txXfrm>
        <a:off x="23988" y="1733905"/>
        <a:ext cx="4785324" cy="443423"/>
      </dsp:txXfrm>
    </dsp:sp>
    <dsp:sp modelId="{06924208-57A9-4D1A-8D67-F55D795D06FA}">
      <dsp:nvSpPr>
        <dsp:cNvPr id="0" name=""/>
        <dsp:cNvSpPr/>
      </dsp:nvSpPr>
      <dsp:spPr>
        <a:xfrm>
          <a:off x="0" y="2261797"/>
          <a:ext cx="4833300" cy="49139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CE Marking</a:t>
          </a:r>
        </a:p>
      </dsp:txBody>
      <dsp:txXfrm>
        <a:off x="23988" y="2285785"/>
        <a:ext cx="4785324" cy="443423"/>
      </dsp:txXfrm>
    </dsp:sp>
    <dsp:sp modelId="{CFE2CBEA-C364-42B6-A474-FB0C67D79DD0}">
      <dsp:nvSpPr>
        <dsp:cNvPr id="0" name=""/>
        <dsp:cNvSpPr/>
      </dsp:nvSpPr>
      <dsp:spPr>
        <a:xfrm>
          <a:off x="0" y="2813677"/>
          <a:ext cx="4833300" cy="49139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t>Ongoing Monitoring</a:t>
          </a:r>
        </a:p>
      </dsp:txBody>
      <dsp:txXfrm>
        <a:off x="23988" y="2837665"/>
        <a:ext cx="4785324" cy="44342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D33BD8-FDD1-094A-A4E6-EDCD9083168D}"/>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A53DA0C-885C-0247-B3CE-6815DCAC2322}"/>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E81B6A93-809F-7948-85F3-018E324E55C7}" type="datetimeFigureOut">
              <a:rPr lang="en-US" smtClean="0"/>
              <a:t>4/17/2024</a:t>
            </a:fld>
            <a:endParaRPr lang="en-US"/>
          </a:p>
        </p:txBody>
      </p:sp>
      <p:sp>
        <p:nvSpPr>
          <p:cNvPr id="4" name="Footer Placeholder 3">
            <a:extLst>
              <a:ext uri="{FF2B5EF4-FFF2-40B4-BE49-F238E27FC236}">
                <a16:creationId xmlns:a16="http://schemas.microsoft.com/office/drawing/2014/main" id="{01A38C3D-8117-AE4D-8A82-FFEFFF1BECD1}"/>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C0E9538-AF9A-0149-BBE9-251505EEF4EB}"/>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CD3909AD-F0A8-B140-AD0A-48C42EB3EE29}" type="slidenum">
              <a:rPr lang="en-US" smtClean="0"/>
              <a:t>‹#›</a:t>
            </a:fld>
            <a:endParaRPr lang="en-US"/>
          </a:p>
        </p:txBody>
      </p:sp>
    </p:spTree>
    <p:extLst>
      <p:ext uri="{BB962C8B-B14F-4D97-AF65-F5344CB8AC3E}">
        <p14:creationId xmlns:p14="http://schemas.microsoft.com/office/powerpoint/2010/main" val="7456941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D2DCB935-B14B-9141-A5B7-B65163803703}" type="datetimeFigureOut">
              <a:rPr lang="en-US" smtClean="0"/>
              <a:t>4/17/2024</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E05EC090-49E1-4846-BBB9-5D83CB951608}" type="slidenum">
              <a:rPr lang="en-US" smtClean="0"/>
              <a:t>‹#›</a:t>
            </a:fld>
            <a:endParaRPr lang="en-US"/>
          </a:p>
        </p:txBody>
      </p:sp>
    </p:spTree>
    <p:extLst>
      <p:ext uri="{BB962C8B-B14F-4D97-AF65-F5344CB8AC3E}">
        <p14:creationId xmlns:p14="http://schemas.microsoft.com/office/powerpoint/2010/main" val="347942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890" indent="0" defTabSz="914400" fontAlgn="auto">
              <a:spcAft>
                <a:spcPts val="0"/>
              </a:spcAft>
              <a:buFont typeface="Arial" panose="020B0604020202020204" pitchFamily="34" charset="0"/>
              <a:buNone/>
              <a:defRPr/>
            </a:pPr>
            <a:endParaRPr lang="en-US" b="1">
              <a:solidFill>
                <a:srgbClr val="FF00B1"/>
              </a:solidFill>
              <a:cs typeface="Calibri"/>
            </a:endParaRPr>
          </a:p>
          <a:p>
            <a:endParaRPr lang="en-US"/>
          </a:p>
        </p:txBody>
      </p:sp>
      <p:sp>
        <p:nvSpPr>
          <p:cNvPr id="4" name="Slide Number Placeholder 3"/>
          <p:cNvSpPr>
            <a:spLocks noGrp="1"/>
          </p:cNvSpPr>
          <p:nvPr>
            <p:ph type="sldNum" sz="quarter" idx="10"/>
          </p:nvPr>
        </p:nvSpPr>
        <p:spPr/>
        <p:txBody>
          <a:bodyPr/>
          <a:lstStyle/>
          <a:p>
            <a:fld id="{E05EC090-49E1-4846-BBB9-5D83CB951608}" type="slidenum">
              <a:rPr lang="en-US" smtClean="0"/>
              <a:t>1</a:t>
            </a:fld>
            <a:endParaRPr lang="en-US"/>
          </a:p>
        </p:txBody>
      </p:sp>
    </p:spTree>
    <p:extLst>
      <p:ext uri="{BB962C8B-B14F-4D97-AF65-F5344CB8AC3E}">
        <p14:creationId xmlns:p14="http://schemas.microsoft.com/office/powerpoint/2010/main" val="749925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7ED58B7D-6016-0840-9BEC-394CD90708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79459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Extra territorial effect</a:t>
            </a:r>
          </a:p>
          <a:p>
            <a:r>
              <a:rPr lang="en-GB"/>
              <a:t>If results are used in EU – you’ll be caught, wherever you’re operating from </a:t>
            </a:r>
          </a:p>
          <a:p>
            <a:r>
              <a:rPr lang="en-GB" err="1"/>
              <a:t>Relecant</a:t>
            </a:r>
            <a:r>
              <a:rPr lang="en-GB"/>
              <a:t> to all big tech</a:t>
            </a:r>
          </a:p>
        </p:txBody>
      </p:sp>
      <p:sp>
        <p:nvSpPr>
          <p:cNvPr id="4" name="Slide Number Placeholder 3"/>
          <p:cNvSpPr>
            <a:spLocks noGrp="1"/>
          </p:cNvSpPr>
          <p:nvPr>
            <p:ph type="sldNum" sz="quarter" idx="5"/>
          </p:nvPr>
        </p:nvSpPr>
        <p:spPr/>
        <p:txBody>
          <a:bodyPr/>
          <a:lstStyle/>
          <a:p>
            <a:fld id="{E05EC090-49E1-4846-BBB9-5D83CB951608}" type="slidenum">
              <a:rPr lang="en-US" smtClean="0"/>
              <a:t>12</a:t>
            </a:fld>
            <a:endParaRPr lang="en-US"/>
          </a:p>
        </p:txBody>
      </p:sp>
    </p:spTree>
    <p:extLst>
      <p:ext uri="{BB962C8B-B14F-4D97-AF65-F5344CB8AC3E}">
        <p14:creationId xmlns:p14="http://schemas.microsoft.com/office/powerpoint/2010/main" val="3894784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a:effectLst/>
                <a:latin typeface="Arial" panose="020B0604020202020204" pitchFamily="34" charset="0"/>
                <a:ea typeface="STZhongsong" panose="02010600040101010101" pitchFamily="2" charset="-122"/>
                <a:cs typeface="Times New Roman" panose="02020603050405020304" pitchFamily="18" charset="0"/>
              </a:rPr>
              <a:t>Article </a:t>
            </a:r>
            <a:r>
              <a:rPr lang="en-GB" sz="1800" b="0" err="1">
                <a:effectLst/>
                <a:latin typeface="Arial" panose="020B0604020202020204" pitchFamily="34" charset="0"/>
                <a:ea typeface="STZhongsong" panose="02010600040101010101" pitchFamily="2" charset="-122"/>
                <a:cs typeface="Times New Roman" panose="02020603050405020304" pitchFamily="18" charset="0"/>
              </a:rPr>
              <a:t>4a</a:t>
            </a:r>
            <a:r>
              <a:rPr lang="en-GB" sz="1800" b="0">
                <a:effectLst/>
                <a:latin typeface="Arial" panose="020B0604020202020204" pitchFamily="34" charset="0"/>
                <a:ea typeface="STZhongsong" panose="02010600040101010101" pitchFamily="2" charset="-122"/>
                <a:cs typeface="Times New Roman" panose="02020603050405020304" pitchFamily="18" charset="0"/>
              </a:rPr>
              <a:t>, </a:t>
            </a:r>
            <a:r>
              <a:rPr lang="en-GB" sz="1800" b="0" err="1">
                <a:effectLst/>
                <a:latin typeface="Arial" panose="020B0604020202020204" pitchFamily="34" charset="0"/>
                <a:ea typeface="STZhongsong" panose="02010600040101010101" pitchFamily="2" charset="-122"/>
                <a:cs typeface="Times New Roman" panose="02020603050405020304" pitchFamily="18" charset="0"/>
              </a:rPr>
              <a:t>4b</a:t>
            </a:r>
            <a:r>
              <a:rPr lang="en-GB" sz="1800" b="0">
                <a:effectLst/>
                <a:latin typeface="Arial" panose="020B0604020202020204" pitchFamily="34" charset="0"/>
                <a:ea typeface="STZhongsong" panose="02010600040101010101" pitchFamily="2" charset="-122"/>
                <a:cs typeface="Times New Roman" panose="02020603050405020304" pitchFamily="18" charset="0"/>
              </a:rPr>
              <a:t>(2), (3) and (4) </a:t>
            </a:r>
            <a:r>
              <a:rPr lang="en-GB" sz="1800"/>
              <a:t>- Unofficial consolidation text adopted by EP on 14 June 2023</a:t>
            </a:r>
          </a:p>
        </p:txBody>
      </p:sp>
      <p:sp>
        <p:nvSpPr>
          <p:cNvPr id="4" name="Slide Number Placeholder 3"/>
          <p:cNvSpPr>
            <a:spLocks noGrp="1"/>
          </p:cNvSpPr>
          <p:nvPr>
            <p:ph type="sldNum" sz="quarter" idx="5"/>
          </p:nvPr>
        </p:nvSpPr>
        <p:spPr/>
        <p:txBody>
          <a:bodyPr/>
          <a:lstStyle/>
          <a:p>
            <a:fld id="{E05EC090-49E1-4846-BBB9-5D83CB951608}" type="slidenum">
              <a:rPr lang="en-US" smtClean="0"/>
              <a:t>15</a:t>
            </a:fld>
            <a:endParaRPr lang="en-US"/>
          </a:p>
        </p:txBody>
      </p:sp>
    </p:spTree>
    <p:extLst>
      <p:ext uri="{BB962C8B-B14F-4D97-AF65-F5344CB8AC3E}">
        <p14:creationId xmlns:p14="http://schemas.microsoft.com/office/powerpoint/2010/main" val="2585394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5EC090-49E1-4846-BBB9-5D83CB951608}" type="slidenum">
              <a:rPr lang="en-US" smtClean="0"/>
              <a:t>17</a:t>
            </a:fld>
            <a:endParaRPr lang="en-US"/>
          </a:p>
        </p:txBody>
      </p:sp>
    </p:spTree>
    <p:extLst>
      <p:ext uri="{BB962C8B-B14F-4D97-AF65-F5344CB8AC3E}">
        <p14:creationId xmlns:p14="http://schemas.microsoft.com/office/powerpoint/2010/main" val="25907821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5EC090-49E1-4846-BBB9-5D83CB951608}" type="slidenum">
              <a:rPr lang="en-US" smtClean="0"/>
              <a:t>18</a:t>
            </a:fld>
            <a:endParaRPr lang="en-US"/>
          </a:p>
        </p:txBody>
      </p:sp>
    </p:spTree>
    <p:extLst>
      <p:ext uri="{BB962C8B-B14F-4D97-AF65-F5344CB8AC3E}">
        <p14:creationId xmlns:p14="http://schemas.microsoft.com/office/powerpoint/2010/main" val="32106749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5EC090-49E1-4846-BBB9-5D83CB951608}" type="slidenum">
              <a:rPr lang="en-US" smtClean="0"/>
              <a:t>19</a:t>
            </a:fld>
            <a:endParaRPr lang="en-US"/>
          </a:p>
        </p:txBody>
      </p:sp>
    </p:spTree>
    <p:extLst>
      <p:ext uri="{BB962C8B-B14F-4D97-AF65-F5344CB8AC3E}">
        <p14:creationId xmlns:p14="http://schemas.microsoft.com/office/powerpoint/2010/main" val="1396766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5EC090-49E1-4846-BBB9-5D83CB951608}" type="slidenum">
              <a:rPr lang="en-US" smtClean="0"/>
              <a:t>20</a:t>
            </a:fld>
            <a:endParaRPr lang="en-US"/>
          </a:p>
        </p:txBody>
      </p:sp>
    </p:spTree>
    <p:extLst>
      <p:ext uri="{BB962C8B-B14F-4D97-AF65-F5344CB8AC3E}">
        <p14:creationId xmlns:p14="http://schemas.microsoft.com/office/powerpoint/2010/main" val="31581055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ig differences in approaches for UK, US, EU (</a:t>
            </a:r>
            <a:r>
              <a:rPr lang="en-GB" err="1"/>
              <a:t>china</a:t>
            </a:r>
            <a:r>
              <a:rPr lang="en-GB"/>
              <a:t> etc.)</a:t>
            </a:r>
          </a:p>
          <a:p>
            <a:r>
              <a:rPr lang="en-GB"/>
              <a:t>BUT – actually the common themes are across them all</a:t>
            </a:r>
          </a:p>
          <a:p>
            <a:endParaRPr lang="en-GB"/>
          </a:p>
        </p:txBody>
      </p:sp>
      <p:sp>
        <p:nvSpPr>
          <p:cNvPr id="4" name="Slide Number Placeholder 3"/>
          <p:cNvSpPr>
            <a:spLocks noGrp="1"/>
          </p:cNvSpPr>
          <p:nvPr>
            <p:ph type="sldNum" sz="quarter" idx="5"/>
          </p:nvPr>
        </p:nvSpPr>
        <p:spPr/>
        <p:txBody>
          <a:bodyPr/>
          <a:lstStyle/>
          <a:p>
            <a:fld id="{E05EC090-49E1-4846-BBB9-5D83CB951608}" type="slidenum">
              <a:rPr lang="en-US" smtClean="0"/>
              <a:t>21</a:t>
            </a:fld>
            <a:endParaRPr lang="en-US"/>
          </a:p>
        </p:txBody>
      </p:sp>
    </p:spTree>
    <p:extLst>
      <p:ext uri="{BB962C8B-B14F-4D97-AF65-F5344CB8AC3E}">
        <p14:creationId xmlns:p14="http://schemas.microsoft.com/office/powerpoint/2010/main" val="37353123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and over to Michael </a:t>
            </a:r>
          </a:p>
        </p:txBody>
      </p:sp>
      <p:sp>
        <p:nvSpPr>
          <p:cNvPr id="4" name="Slide Number Placeholder 3"/>
          <p:cNvSpPr>
            <a:spLocks noGrp="1"/>
          </p:cNvSpPr>
          <p:nvPr>
            <p:ph type="sldNum" sz="quarter" idx="5"/>
          </p:nvPr>
        </p:nvSpPr>
        <p:spPr/>
        <p:txBody>
          <a:bodyPr/>
          <a:lstStyle/>
          <a:p>
            <a:fld id="{E05EC090-49E1-4846-BBB9-5D83CB951608}" type="slidenum">
              <a:rPr lang="en-US" smtClean="0"/>
              <a:t>2</a:t>
            </a:fld>
            <a:endParaRPr lang="en-US"/>
          </a:p>
        </p:txBody>
      </p:sp>
    </p:spTree>
    <p:extLst>
      <p:ext uri="{BB962C8B-B14F-4D97-AF65-F5344CB8AC3E}">
        <p14:creationId xmlns:p14="http://schemas.microsoft.com/office/powerpoint/2010/main" val="12512632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and over to Michael </a:t>
            </a:r>
          </a:p>
        </p:txBody>
      </p:sp>
      <p:sp>
        <p:nvSpPr>
          <p:cNvPr id="4" name="Slide Number Placeholder 3"/>
          <p:cNvSpPr>
            <a:spLocks noGrp="1"/>
          </p:cNvSpPr>
          <p:nvPr>
            <p:ph type="sldNum" sz="quarter" idx="5"/>
          </p:nvPr>
        </p:nvSpPr>
        <p:spPr/>
        <p:txBody>
          <a:bodyPr/>
          <a:lstStyle/>
          <a:p>
            <a:fld id="{E05EC090-49E1-4846-BBB9-5D83CB951608}" type="slidenum">
              <a:rPr lang="en-US" smtClean="0"/>
              <a:t>4</a:t>
            </a:fld>
            <a:endParaRPr lang="en-US"/>
          </a:p>
        </p:txBody>
      </p:sp>
    </p:spTree>
    <p:extLst>
      <p:ext uri="{BB962C8B-B14F-4D97-AF65-F5344CB8AC3E}">
        <p14:creationId xmlns:p14="http://schemas.microsoft.com/office/powerpoint/2010/main" val="1142851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5EC090-49E1-4846-BBB9-5D83CB951608}" type="slidenum">
              <a:rPr lang="en-US" smtClean="0"/>
              <a:t>5</a:t>
            </a:fld>
            <a:endParaRPr lang="en-US"/>
          </a:p>
        </p:txBody>
      </p:sp>
    </p:spTree>
    <p:extLst>
      <p:ext uri="{BB962C8B-B14F-4D97-AF65-F5344CB8AC3E}">
        <p14:creationId xmlns:p14="http://schemas.microsoft.com/office/powerpoint/2010/main" val="20382225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5EC090-49E1-4846-BBB9-5D83CB951608}" type="slidenum">
              <a:rPr lang="en-US" smtClean="0"/>
              <a:t>6</a:t>
            </a:fld>
            <a:endParaRPr lang="en-US"/>
          </a:p>
        </p:txBody>
      </p:sp>
    </p:spTree>
    <p:extLst>
      <p:ext uri="{BB962C8B-B14F-4D97-AF65-F5344CB8AC3E}">
        <p14:creationId xmlns:p14="http://schemas.microsoft.com/office/powerpoint/2010/main" val="2038222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and over to Michael </a:t>
            </a:r>
          </a:p>
        </p:txBody>
      </p:sp>
      <p:sp>
        <p:nvSpPr>
          <p:cNvPr id="4" name="Slide Number Placeholder 3"/>
          <p:cNvSpPr>
            <a:spLocks noGrp="1"/>
          </p:cNvSpPr>
          <p:nvPr>
            <p:ph type="sldNum" sz="quarter" idx="5"/>
          </p:nvPr>
        </p:nvSpPr>
        <p:spPr/>
        <p:txBody>
          <a:bodyPr/>
          <a:lstStyle/>
          <a:p>
            <a:fld id="{E05EC090-49E1-4846-BBB9-5D83CB951608}" type="slidenum">
              <a:rPr lang="en-US" smtClean="0"/>
              <a:t>7</a:t>
            </a:fld>
            <a:endParaRPr lang="en-US"/>
          </a:p>
        </p:txBody>
      </p:sp>
    </p:spTree>
    <p:extLst>
      <p:ext uri="{BB962C8B-B14F-4D97-AF65-F5344CB8AC3E}">
        <p14:creationId xmlns:p14="http://schemas.microsoft.com/office/powerpoint/2010/main" val="3459211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Sector based – similar to UK</a:t>
            </a:r>
          </a:p>
          <a:p>
            <a:r>
              <a:rPr lang="en-US">
                <a:ea typeface="Calibri"/>
                <a:cs typeface="Calibri"/>
              </a:rPr>
              <a:t>But in divisive election year have coincidence of position between demos and </a:t>
            </a:r>
            <a:r>
              <a:rPr lang="en-US" err="1">
                <a:ea typeface="Calibri"/>
                <a:cs typeface="Calibri"/>
              </a:rPr>
              <a:t>repubs</a:t>
            </a:r>
            <a:r>
              <a:rPr lang="en-US">
                <a:ea typeface="Calibri"/>
                <a:cs typeface="Calibri"/>
              </a:rPr>
              <a:t> calling for MORE regulation </a:t>
            </a:r>
          </a:p>
          <a:p>
            <a:r>
              <a:rPr lang="en-US">
                <a:ea typeface="Calibri"/>
                <a:cs typeface="Calibri"/>
              </a:rPr>
              <a:t>Although, each has slightly different angle </a:t>
            </a:r>
          </a:p>
          <a:p>
            <a:r>
              <a:rPr lang="en-US">
                <a:ea typeface="Calibri"/>
                <a:cs typeface="Calibri"/>
              </a:rPr>
              <a:t>One of a few areas not opposed</a:t>
            </a:r>
          </a:p>
          <a:p>
            <a:endParaRPr lang="en-US">
              <a:ea typeface="Calibri"/>
              <a:cs typeface="Calibri"/>
            </a:endParaRPr>
          </a:p>
          <a:p>
            <a:r>
              <a:rPr lang="en-US">
                <a:ea typeface="Calibri"/>
                <a:cs typeface="Calibri"/>
              </a:rPr>
              <a:t>Too much money and potential for harms perceived by trad voters</a:t>
            </a:r>
          </a:p>
          <a:p>
            <a:r>
              <a:rPr lang="en-US" err="1">
                <a:ea typeface="Calibri"/>
                <a:cs typeface="Calibri"/>
              </a:rPr>
              <a:t>Unformfortable</a:t>
            </a:r>
            <a:r>
              <a:rPr lang="en-US">
                <a:ea typeface="Calibri"/>
                <a:cs typeface="Calibri"/>
              </a:rPr>
              <a:t> talking points from </a:t>
            </a:r>
            <a:r>
              <a:rPr lang="en-US" err="1">
                <a:ea typeface="Calibri"/>
                <a:cs typeface="Calibri"/>
              </a:rPr>
              <a:t>chatgpt</a:t>
            </a:r>
            <a:r>
              <a:rPr lang="en-US">
                <a:ea typeface="Calibri"/>
                <a:cs typeface="Calibri"/>
              </a:rPr>
              <a:t>…</a:t>
            </a:r>
          </a:p>
        </p:txBody>
      </p:sp>
      <p:sp>
        <p:nvSpPr>
          <p:cNvPr id="4" name="Slide Number Placeholder 3"/>
          <p:cNvSpPr>
            <a:spLocks noGrp="1"/>
          </p:cNvSpPr>
          <p:nvPr>
            <p:ph type="sldNum" sz="quarter" idx="5"/>
          </p:nvPr>
        </p:nvSpPr>
        <p:spPr/>
        <p:txBody>
          <a:bodyPr/>
          <a:lstStyle/>
          <a:p>
            <a:fld id="{E05EC090-49E1-4846-BBB9-5D83CB951608}" type="slidenum">
              <a:rPr lang="en-US" smtClean="0"/>
              <a:t>8</a:t>
            </a:fld>
            <a:endParaRPr lang="en-US"/>
          </a:p>
        </p:txBody>
      </p:sp>
    </p:spTree>
    <p:extLst>
      <p:ext uri="{BB962C8B-B14F-4D97-AF65-F5344CB8AC3E}">
        <p14:creationId xmlns:p14="http://schemas.microsoft.com/office/powerpoint/2010/main" val="2536523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ll the greatest hits again</a:t>
            </a:r>
          </a:p>
          <a:p>
            <a:r>
              <a:rPr lang="en-GB"/>
              <a:t>Not directly effective outside the fed government (not AI reg in that sense) </a:t>
            </a:r>
          </a:p>
          <a:p>
            <a:r>
              <a:rPr lang="en-GB"/>
              <a:t>Item 9 – US fearing open source could create risks that responsible commercial AI wouldn’t </a:t>
            </a:r>
          </a:p>
        </p:txBody>
      </p:sp>
      <p:sp>
        <p:nvSpPr>
          <p:cNvPr id="4" name="Slide Number Placeholder 3"/>
          <p:cNvSpPr>
            <a:spLocks noGrp="1"/>
          </p:cNvSpPr>
          <p:nvPr>
            <p:ph type="sldNum" sz="quarter" idx="5"/>
          </p:nvPr>
        </p:nvSpPr>
        <p:spPr/>
        <p:txBody>
          <a:bodyPr/>
          <a:lstStyle/>
          <a:p>
            <a:fld id="{E05EC090-49E1-4846-BBB9-5D83CB951608}" type="slidenum">
              <a:rPr lang="en-US" smtClean="0"/>
              <a:t>9</a:t>
            </a:fld>
            <a:endParaRPr lang="en-US"/>
          </a:p>
        </p:txBody>
      </p:sp>
    </p:spTree>
    <p:extLst>
      <p:ext uri="{BB962C8B-B14F-4D97-AF65-F5344CB8AC3E}">
        <p14:creationId xmlns:p14="http://schemas.microsoft.com/office/powerpoint/2010/main" val="20962109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and over to Michael </a:t>
            </a:r>
          </a:p>
        </p:txBody>
      </p:sp>
      <p:sp>
        <p:nvSpPr>
          <p:cNvPr id="4" name="Slide Number Placeholder 3"/>
          <p:cNvSpPr>
            <a:spLocks noGrp="1"/>
          </p:cNvSpPr>
          <p:nvPr>
            <p:ph type="sldNum" sz="quarter" idx="5"/>
          </p:nvPr>
        </p:nvSpPr>
        <p:spPr/>
        <p:txBody>
          <a:bodyPr/>
          <a:lstStyle/>
          <a:p>
            <a:fld id="{E05EC090-49E1-4846-BBB9-5D83CB951608}" type="slidenum">
              <a:rPr lang="en-US" smtClean="0"/>
              <a:t>10</a:t>
            </a:fld>
            <a:endParaRPr lang="en-US"/>
          </a:p>
        </p:txBody>
      </p:sp>
    </p:spTree>
    <p:extLst>
      <p:ext uri="{BB962C8B-B14F-4D97-AF65-F5344CB8AC3E}">
        <p14:creationId xmlns:p14="http://schemas.microsoft.com/office/powerpoint/2010/main" val="42738689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B981E-A46A-464F-8083-0E9C7F5C25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6379B97-46D4-433B-9BD3-0F0F816ABF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72072CBC-B6BD-4488-918E-DA12EEF4577B}"/>
              </a:ext>
            </a:extLst>
          </p:cNvPr>
          <p:cNvSpPr>
            <a:spLocks noGrp="1"/>
          </p:cNvSpPr>
          <p:nvPr>
            <p:ph type="dt" sz="half" idx="10"/>
          </p:nvPr>
        </p:nvSpPr>
        <p:spPr/>
        <p:txBody>
          <a:bodyPr/>
          <a:lstStyle/>
          <a:p>
            <a:fld id="{B6CADB5B-A268-4733-B10D-122D23955DC8}" type="datetimeFigureOut">
              <a:rPr lang="en-GB" smtClean="0"/>
              <a:t>17/04/2024</a:t>
            </a:fld>
            <a:endParaRPr lang="en-GB"/>
          </a:p>
        </p:txBody>
      </p:sp>
      <p:sp>
        <p:nvSpPr>
          <p:cNvPr id="5" name="Footer Placeholder 4">
            <a:extLst>
              <a:ext uri="{FF2B5EF4-FFF2-40B4-BE49-F238E27FC236}">
                <a16:creationId xmlns:a16="http://schemas.microsoft.com/office/drawing/2014/main" id="{2719A13F-2621-4266-80F4-46F2BFA0AF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4197999-E21C-4F63-864E-2595D00220D4}"/>
              </a:ext>
            </a:extLst>
          </p:cNvPr>
          <p:cNvSpPr>
            <a:spLocks noGrp="1"/>
          </p:cNvSpPr>
          <p:nvPr>
            <p:ph type="sldNum" sz="quarter" idx="12"/>
          </p:nvPr>
        </p:nvSpPr>
        <p:spPr/>
        <p:txBody>
          <a:bodyPr/>
          <a:lstStyle/>
          <a:p>
            <a:fld id="{404712BB-8958-4E4D-AD24-95C236B19678}" type="slidenum">
              <a:rPr lang="en-GB" smtClean="0"/>
              <a:t>‹#›</a:t>
            </a:fld>
            <a:endParaRPr lang="en-GB"/>
          </a:p>
        </p:txBody>
      </p:sp>
    </p:spTree>
    <p:extLst>
      <p:ext uri="{BB962C8B-B14F-4D97-AF65-F5344CB8AC3E}">
        <p14:creationId xmlns:p14="http://schemas.microsoft.com/office/powerpoint/2010/main" val="312795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Layout White w/Gray Sidebar">
    <p:spTree>
      <p:nvGrpSpPr>
        <p:cNvPr id="1" name=""/>
        <p:cNvGrpSpPr/>
        <p:nvPr/>
      </p:nvGrpSpPr>
      <p:grpSpPr>
        <a:xfrm>
          <a:off x="0" y="0"/>
          <a:ext cx="0" cy="0"/>
          <a:chOff x="0" y="0"/>
          <a:chExt cx="0" cy="0"/>
        </a:xfrm>
      </p:grpSpPr>
      <p:sp>
        <p:nvSpPr>
          <p:cNvPr id="9" name="Content Placeholder 8"/>
          <p:cNvSpPr>
            <a:spLocks noGrp="1"/>
          </p:cNvSpPr>
          <p:nvPr>
            <p:ph sz="quarter" idx="18"/>
          </p:nvPr>
        </p:nvSpPr>
        <p:spPr>
          <a:xfrm>
            <a:off x="515938" y="1431926"/>
            <a:ext cx="7380287" cy="48768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8"/>
            <a:ext cx="1727201" cy="261201"/>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7377597"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8" y="368300"/>
            <a:ext cx="7380366"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1" name="Rectangle 10">
            <a:extLst>
              <a:ext uri="{FF2B5EF4-FFF2-40B4-BE49-F238E27FC236}">
                <a16:creationId xmlns:a16="http://schemas.microsoft.com/office/drawing/2014/main" id="{8B5C996B-0918-804B-BD4C-32A658B584F3}"/>
              </a:ext>
            </a:extLst>
          </p:cNvPr>
          <p:cNvSpPr/>
          <p:nvPr userDrawn="1"/>
        </p:nvSpPr>
        <p:spPr>
          <a:xfrm>
            <a:off x="8525690" y="0"/>
            <a:ext cx="3666309" cy="65818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Layout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7"/>
            <a:ext cx="1727201" cy="261203"/>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Layout Gra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B5C996B-0918-804B-BD4C-32A658B584F3}"/>
              </a:ext>
            </a:extLst>
          </p:cNvPr>
          <p:cNvSpPr/>
          <p:nvPr userDrawn="1"/>
        </p:nvSpPr>
        <p:spPr>
          <a:xfrm>
            <a:off x="0" y="1432200"/>
            <a:ext cx="12192000" cy="51496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3" name="Content Placeholder 8"/>
          <p:cNvSpPr>
            <a:spLocks noGrp="1"/>
          </p:cNvSpPr>
          <p:nvPr>
            <p:ph sz="quarter" idx="18"/>
          </p:nvPr>
        </p:nvSpPr>
        <p:spPr>
          <a:xfrm>
            <a:off x="515938" y="1797269"/>
            <a:ext cx="11160125" cy="4511456"/>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Layout Gra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B5C996B-0918-804B-BD4C-32A658B584F3}"/>
              </a:ext>
            </a:extLst>
          </p:cNvPr>
          <p:cNvSpPr/>
          <p:nvPr userDrawn="1"/>
        </p:nvSpPr>
        <p:spPr>
          <a:xfrm>
            <a:off x="0" y="1432200"/>
            <a:ext cx="12192000" cy="51496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Layout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B5C996B-0918-804B-BD4C-32A658B584F3}"/>
              </a:ext>
            </a:extLst>
          </p:cNvPr>
          <p:cNvSpPr/>
          <p:nvPr userDrawn="1"/>
        </p:nvSpPr>
        <p:spPr>
          <a:xfrm>
            <a:off x="0" y="0"/>
            <a:ext cx="12192000" cy="65818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11160124"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tx1"/>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tx1"/>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5"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tx1"/>
                </a:solidFill>
              </a:defRPr>
            </a:lvl1pPr>
          </a:lstStyle>
          <a:p>
            <a:endParaRPr lang="en-US" dirty="0"/>
          </a:p>
        </p:txBody>
      </p:sp>
      <p:sp>
        <p:nvSpPr>
          <p:cNvPr id="13" name="Content Placeholder 8"/>
          <p:cNvSpPr>
            <a:spLocks noGrp="1"/>
          </p:cNvSpPr>
          <p:nvPr>
            <p:ph sz="quarter" idx="18"/>
          </p:nvPr>
        </p:nvSpPr>
        <p:spPr>
          <a:xfrm>
            <a:off x="515938" y="1882171"/>
            <a:ext cx="11160125" cy="4426554"/>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Box 9">
            <a:extLst>
              <a:ext uri="{FF2B5EF4-FFF2-40B4-BE49-F238E27FC236}">
                <a16:creationId xmlns:a16="http://schemas.microsoft.com/office/drawing/2014/main" id="{6CBF0F17-D7C8-7243-BD94-CF6519775FE5}"/>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Layout Dark w/Sideba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B5C996B-0918-804B-BD4C-32A658B584F3}"/>
              </a:ext>
            </a:extLst>
          </p:cNvPr>
          <p:cNvSpPr/>
          <p:nvPr userDrawn="1"/>
        </p:nvSpPr>
        <p:spPr>
          <a:xfrm>
            <a:off x="0" y="0"/>
            <a:ext cx="12192000" cy="65818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tx1"/>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tx1"/>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9" y="899161"/>
            <a:ext cx="7380288"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2" name="Title 1"/>
          <p:cNvSpPr>
            <a:spLocks noGrp="1"/>
          </p:cNvSpPr>
          <p:nvPr>
            <p:ph type="title" hasCustomPrompt="1"/>
          </p:nvPr>
        </p:nvSpPr>
        <p:spPr>
          <a:xfrm>
            <a:off x="515939" y="368300"/>
            <a:ext cx="7383054" cy="577153"/>
          </a:xfrm>
        </p:spPr>
        <p:txBody>
          <a:bodyPr/>
          <a:lstStyle>
            <a:lvl1pPr>
              <a:defRPr>
                <a:solidFill>
                  <a:schemeClr val="bg1"/>
                </a:solidFill>
              </a:defRPr>
            </a:lvl1p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tx1"/>
                </a:solidFill>
              </a:defRPr>
            </a:lvl1pPr>
          </a:lstStyle>
          <a:p>
            <a:endParaRPr lang="en-US" dirty="0"/>
          </a:p>
        </p:txBody>
      </p:sp>
      <p:sp>
        <p:nvSpPr>
          <p:cNvPr id="13" name="Content Placeholder 8"/>
          <p:cNvSpPr>
            <a:spLocks noGrp="1"/>
          </p:cNvSpPr>
          <p:nvPr>
            <p:ph sz="quarter" idx="18"/>
          </p:nvPr>
        </p:nvSpPr>
        <p:spPr>
          <a:xfrm>
            <a:off x="515939" y="1432200"/>
            <a:ext cx="7380286" cy="4876525"/>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8B5C996B-0918-804B-BD4C-32A658B584F3}"/>
              </a:ext>
            </a:extLst>
          </p:cNvPr>
          <p:cNvSpPr/>
          <p:nvPr userDrawn="1"/>
        </p:nvSpPr>
        <p:spPr>
          <a:xfrm>
            <a:off x="8525690" y="0"/>
            <a:ext cx="3666309" cy="65818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10" name="TextBox 9">
            <a:extLst>
              <a:ext uri="{FF2B5EF4-FFF2-40B4-BE49-F238E27FC236}">
                <a16:creationId xmlns:a16="http://schemas.microsoft.com/office/drawing/2014/main" id="{6CBF0F17-D7C8-7243-BD94-CF6519775FE5}"/>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cxnSp>
        <p:nvCxnSpPr>
          <p:cNvPr id="16" name="Straight Connector 15"/>
          <p:cNvCxnSpPr/>
          <p:nvPr userDrawn="1"/>
        </p:nvCxnSpPr>
        <p:spPr>
          <a:xfrm>
            <a:off x="0" y="6582427"/>
            <a:ext cx="12192000" cy="0"/>
          </a:xfrm>
          <a:prstGeom prst="line">
            <a:avLst/>
          </a:prstGeom>
          <a:ln w="1905">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Layout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B5C996B-0918-804B-BD4C-32A658B584F3}"/>
              </a:ext>
            </a:extLst>
          </p:cNvPr>
          <p:cNvSpPr/>
          <p:nvPr userDrawn="1"/>
        </p:nvSpPr>
        <p:spPr>
          <a:xfrm>
            <a:off x="0" y="0"/>
            <a:ext cx="12192000" cy="65818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tx1"/>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tx1"/>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5"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tx1"/>
                </a:solidFill>
              </a:defRPr>
            </a:lvl1pPr>
          </a:lstStyle>
          <a:p>
            <a:endParaRPr lang="en-US" dirty="0"/>
          </a:p>
        </p:txBody>
      </p:sp>
      <p:sp>
        <p:nvSpPr>
          <p:cNvPr id="8" name="TextBox 7">
            <a:extLst>
              <a:ext uri="{FF2B5EF4-FFF2-40B4-BE49-F238E27FC236}">
                <a16:creationId xmlns:a16="http://schemas.microsoft.com/office/drawing/2014/main" id="{6CBF0F17-D7C8-7243-BD94-CF6519775FE5}"/>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B5C996B-0918-804B-BD4C-32A658B584F3}"/>
              </a:ext>
            </a:extLst>
          </p:cNvPr>
          <p:cNvSpPr/>
          <p:nvPr userDrawn="1"/>
        </p:nvSpPr>
        <p:spPr>
          <a:xfrm>
            <a:off x="0" y="6581819"/>
            <a:ext cx="12192000" cy="276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B78FE51E-6A48-4848-9860-F25854EC97B4}"/>
              </a:ext>
            </a:extLst>
          </p:cNvPr>
          <p:cNvSpPr/>
          <p:nvPr userDrawn="1"/>
        </p:nvSpPr>
        <p:spPr>
          <a:xfrm>
            <a:off x="0" y="1"/>
            <a:ext cx="12192000" cy="6857999"/>
          </a:xfrm>
          <a:prstGeom prst="rect">
            <a:avLst/>
          </a:prstGeom>
          <a:noFill/>
          <a:ln w="190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5496659"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tx1"/>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tx1"/>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5496659"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sp>
        <p:nvSpPr>
          <p:cNvPr id="2" name="Title 1"/>
          <p:cNvSpPr>
            <a:spLocks noGrp="1"/>
          </p:cNvSpPr>
          <p:nvPr>
            <p:ph type="title" hasCustomPrompt="1"/>
          </p:nvPr>
        </p:nvSpPr>
        <p:spPr>
          <a:xfrm>
            <a:off x="515939" y="368300"/>
            <a:ext cx="5500804" cy="577153"/>
          </a:xfrm>
        </p:spPr>
        <p:txBody>
          <a:bodyPr/>
          <a:lstStyle>
            <a:lvl1pPr>
              <a:defRPr>
                <a:solidFill>
                  <a:schemeClr val="bg1"/>
                </a:solidFill>
              </a:defRPr>
            </a:lvl1p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tx1"/>
                </a:solidFill>
              </a:defRPr>
            </a:lvl1pPr>
          </a:lstStyle>
          <a:p>
            <a:endParaRPr lang="en-US" dirty="0"/>
          </a:p>
        </p:txBody>
      </p:sp>
      <p:sp>
        <p:nvSpPr>
          <p:cNvPr id="13" name="Content Placeholder 8"/>
          <p:cNvSpPr>
            <a:spLocks noGrp="1"/>
          </p:cNvSpPr>
          <p:nvPr>
            <p:ph sz="quarter" idx="18"/>
          </p:nvPr>
        </p:nvSpPr>
        <p:spPr>
          <a:xfrm>
            <a:off x="515939" y="1882171"/>
            <a:ext cx="5500686" cy="4426554"/>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w/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5C996B-0918-804B-BD4C-32A658B584F3}"/>
              </a:ext>
            </a:extLst>
          </p:cNvPr>
          <p:cNvSpPr/>
          <p:nvPr userDrawn="1"/>
        </p:nvSpPr>
        <p:spPr>
          <a:xfrm>
            <a:off x="0" y="6581819"/>
            <a:ext cx="12191999" cy="276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C94F97E5-7B26-6041-BF85-BD601BCEF688}"/>
              </a:ext>
            </a:extLst>
          </p:cNvPr>
          <p:cNvSpPr/>
          <p:nvPr userDrawn="1"/>
        </p:nvSpPr>
        <p:spPr>
          <a:xfrm>
            <a:off x="0" y="1"/>
            <a:ext cx="12192000" cy="6857999"/>
          </a:xfrm>
          <a:prstGeom prst="rect">
            <a:avLst/>
          </a:prstGeom>
          <a:noFill/>
          <a:ln w="190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B12EB4D1-1B47-C945-BFB8-A1269CA392F7}"/>
              </a:ext>
            </a:extLst>
          </p:cNvPr>
          <p:cNvSpPr>
            <a:spLocks noGrp="1"/>
          </p:cNvSpPr>
          <p:nvPr>
            <p:ph type="title" hasCustomPrompt="1"/>
          </p:nvPr>
        </p:nvSpPr>
        <p:spPr>
          <a:xfrm>
            <a:off x="515938" y="1431382"/>
            <a:ext cx="10969625" cy="412750"/>
          </a:xfrm>
          <a:prstGeom prst="rect">
            <a:avLst/>
          </a:prstGeom>
        </p:spPr>
        <p:txBody>
          <a:bodyPr/>
          <a:lstStyle>
            <a:lvl1pPr>
              <a:defRPr sz="3600">
                <a:solidFill>
                  <a:schemeClr val="accent5"/>
                </a:solidFill>
                <a:latin typeface="Cambria" panose="02040503050406030204" pitchFamily="18" charset="0"/>
              </a:defRPr>
            </a:lvl1pPr>
          </a:lstStyle>
          <a:p>
            <a:r>
              <a:rPr lang="en-US" altLang="x-none" dirty="0"/>
              <a:t>Divider Slide</a:t>
            </a:r>
          </a:p>
        </p:txBody>
      </p:sp>
      <p:sp>
        <p:nvSpPr>
          <p:cNvPr id="8" name="Text Placeholder 1">
            <a:extLst>
              <a:ext uri="{FF2B5EF4-FFF2-40B4-BE49-F238E27FC236}">
                <a16:creationId xmlns:a16="http://schemas.microsoft.com/office/drawing/2014/main" id="{FC917BFA-C928-954E-8176-7D0958DCA0D5}"/>
              </a:ext>
            </a:extLst>
          </p:cNvPr>
          <p:cNvSpPr>
            <a:spLocks noGrp="1"/>
          </p:cNvSpPr>
          <p:nvPr>
            <p:ph type="body" sz="quarter" idx="13" hasCustomPrompt="1"/>
          </p:nvPr>
        </p:nvSpPr>
        <p:spPr>
          <a:xfrm>
            <a:off x="515938" y="1962243"/>
            <a:ext cx="10969625"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7" name="TextBox 6">
            <a:extLst>
              <a:ext uri="{FF2B5EF4-FFF2-40B4-BE49-F238E27FC236}">
                <a16:creationId xmlns:a16="http://schemas.microsoft.com/office/drawing/2014/main" id="{FD14F7DB-AE00-4DF4-8C80-EDAC1F09033A}"/>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sp>
        <p:nvSpPr>
          <p:cNvPr id="9" name="Footer Placeholder 1"/>
          <p:cNvSpPr>
            <a:spLocks noGrp="1"/>
          </p:cNvSpPr>
          <p:nvPr>
            <p:ph type="ftr" sz="quarter" idx="3"/>
          </p:nvPr>
        </p:nvSpPr>
        <p:spPr>
          <a:xfrm>
            <a:off x="2387600" y="6596798"/>
            <a:ext cx="7416800" cy="256092"/>
          </a:xfrm>
          <a:prstGeom prst="rect">
            <a:avLst/>
          </a:prstGeom>
        </p:spPr>
        <p:txBody>
          <a:bodyPr vert="horz" lIns="91440" tIns="45720" rIns="91440" bIns="45720" rtlCol="0" anchor="ctr"/>
          <a:lstStyle>
            <a:lvl1pPr algn="l">
              <a:defRPr sz="1000">
                <a:solidFill>
                  <a:schemeClr val="tx1"/>
                </a:solidFill>
              </a:defRPr>
            </a:lvl1pPr>
          </a:lstStyle>
          <a:p>
            <a:endParaRPr lang="en-US" dirty="0"/>
          </a:p>
        </p:txBody>
      </p:sp>
      <p:sp>
        <p:nvSpPr>
          <p:cNvPr id="11"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48864" y="6596797"/>
            <a:ext cx="1727200" cy="260593"/>
          </a:xfrm>
          <a:prstGeom prst="rect">
            <a:avLst/>
          </a:prstGeom>
        </p:spPr>
        <p:txBody>
          <a:bodyPr vert="horz" lIns="0" tIns="0" rIns="0" bIns="0" rtlCol="0" anchor="ctr"/>
          <a:lstStyle>
            <a:lvl1pPr algn="ctr">
              <a:defRPr sz="1000" b="0">
                <a:solidFill>
                  <a:schemeClr val="tx1"/>
                </a:solidFill>
              </a:defRPr>
            </a:lvl1pPr>
          </a:lstStyle>
          <a:p>
            <a:r>
              <a:rPr lang="en-US"/>
              <a:t>Date</a:t>
            </a:r>
            <a:endParaRPr lang="en-US" dirty="0"/>
          </a:p>
        </p:txBody>
      </p:sp>
      <p:sp>
        <p:nvSpPr>
          <p:cNvPr id="12" name="Slide Number Placeholder 5">
            <a:extLst>
              <a:ext uri="{FF2B5EF4-FFF2-40B4-BE49-F238E27FC236}">
                <a16:creationId xmlns:a16="http://schemas.microsoft.com/office/drawing/2014/main" id="{ED4D4C61-8619-194B-8CBC-6D26A1A8D157}"/>
              </a:ext>
            </a:extLst>
          </p:cNvPr>
          <p:cNvSpPr>
            <a:spLocks noGrp="1"/>
          </p:cNvSpPr>
          <p:nvPr>
            <p:ph type="sldNum" sz="quarter" idx="4"/>
          </p:nvPr>
        </p:nvSpPr>
        <p:spPr>
          <a:xfrm>
            <a:off x="11676064" y="6596797"/>
            <a:ext cx="515935" cy="261203"/>
          </a:xfrm>
          <a:prstGeom prst="rect">
            <a:avLst/>
          </a:prstGeom>
        </p:spPr>
        <p:txBody>
          <a:bodyPr vert="horz" lIns="0" tIns="0" rIns="0" bIns="0" rtlCol="0" anchor="ctr"/>
          <a:lstStyle>
            <a:lvl1pPr algn="ctr">
              <a:defRPr sz="1000" b="0">
                <a:solidFill>
                  <a:schemeClr val="tx1"/>
                </a:solidFill>
              </a:defRPr>
            </a:lvl1pPr>
          </a:lstStyle>
          <a:p>
            <a:fld id="{F9591D4C-BB8F-AE46-BE73-C616F30BBC5B}" type="slidenum">
              <a:rPr lang="en-US" smtClean="0"/>
              <a:pPr/>
              <a:t>‹#›</a:t>
            </a:fld>
            <a:endParaRPr lang="en-US" dirty="0"/>
          </a:p>
        </p:txBody>
      </p:sp>
    </p:spTree>
    <p:extLst>
      <p:ext uri="{BB962C8B-B14F-4D97-AF65-F5344CB8AC3E}">
        <p14:creationId xmlns:p14="http://schemas.microsoft.com/office/powerpoint/2010/main" val="31475584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Blank">
    <p:bg>
      <p:bgPr>
        <a:solidFill>
          <a:schemeClr val="tx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B5C996B-0918-804B-BD4C-32A658B584F3}"/>
              </a:ext>
            </a:extLst>
          </p:cNvPr>
          <p:cNvSpPr/>
          <p:nvPr userDrawn="1"/>
        </p:nvSpPr>
        <p:spPr>
          <a:xfrm>
            <a:off x="0" y="6581819"/>
            <a:ext cx="12191999" cy="276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2A999862-C875-6E4E-903D-73992F31A975}"/>
              </a:ext>
            </a:extLst>
          </p:cNvPr>
          <p:cNvSpPr/>
          <p:nvPr userDrawn="1"/>
        </p:nvSpPr>
        <p:spPr>
          <a:xfrm>
            <a:off x="0" y="1"/>
            <a:ext cx="12192000" cy="6857999"/>
          </a:xfrm>
          <a:prstGeom prst="rect">
            <a:avLst/>
          </a:prstGeom>
          <a:noFill/>
          <a:ln w="190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B12EB4D1-1B47-C945-BFB8-A1269CA392F7}"/>
              </a:ext>
            </a:extLst>
          </p:cNvPr>
          <p:cNvSpPr>
            <a:spLocks noGrp="1"/>
          </p:cNvSpPr>
          <p:nvPr>
            <p:ph type="title" hasCustomPrompt="1"/>
          </p:nvPr>
        </p:nvSpPr>
        <p:spPr>
          <a:xfrm>
            <a:off x="515938" y="1431382"/>
            <a:ext cx="10969625" cy="412750"/>
          </a:xfrm>
          <a:prstGeom prst="rect">
            <a:avLst/>
          </a:prstGeom>
        </p:spPr>
        <p:txBody>
          <a:bodyPr/>
          <a:lstStyle>
            <a:lvl1pPr>
              <a:defRPr sz="3600">
                <a:solidFill>
                  <a:schemeClr val="accent5"/>
                </a:solidFill>
                <a:latin typeface="Cambria" panose="02040503050406030204" pitchFamily="18" charset="0"/>
              </a:defRPr>
            </a:lvl1pPr>
          </a:lstStyle>
          <a:p>
            <a:r>
              <a:rPr lang="en-US" altLang="x-none" dirty="0"/>
              <a:t>Divider Slide</a:t>
            </a:r>
          </a:p>
        </p:txBody>
      </p:sp>
      <p:sp>
        <p:nvSpPr>
          <p:cNvPr id="8" name="Text Placeholder 1">
            <a:extLst>
              <a:ext uri="{FF2B5EF4-FFF2-40B4-BE49-F238E27FC236}">
                <a16:creationId xmlns:a16="http://schemas.microsoft.com/office/drawing/2014/main" id="{FC917BFA-C928-954E-8176-7D0958DCA0D5}"/>
              </a:ext>
            </a:extLst>
          </p:cNvPr>
          <p:cNvSpPr>
            <a:spLocks noGrp="1"/>
          </p:cNvSpPr>
          <p:nvPr>
            <p:ph type="body" sz="quarter" idx="13" hasCustomPrompt="1"/>
          </p:nvPr>
        </p:nvSpPr>
        <p:spPr>
          <a:xfrm>
            <a:off x="515938" y="1962243"/>
            <a:ext cx="10969625"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7" name="TextBox 6">
            <a:extLst>
              <a:ext uri="{FF2B5EF4-FFF2-40B4-BE49-F238E27FC236}">
                <a16:creationId xmlns:a16="http://schemas.microsoft.com/office/drawing/2014/main" id="{FD14F7DB-AE00-4DF4-8C80-EDAC1F09033A}"/>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sp>
        <p:nvSpPr>
          <p:cNvPr id="9" name="Footer Placeholder 1"/>
          <p:cNvSpPr>
            <a:spLocks noGrp="1"/>
          </p:cNvSpPr>
          <p:nvPr>
            <p:ph type="ftr" sz="quarter" idx="3"/>
          </p:nvPr>
        </p:nvSpPr>
        <p:spPr>
          <a:xfrm>
            <a:off x="2387600" y="6596798"/>
            <a:ext cx="7416800" cy="256092"/>
          </a:xfrm>
          <a:prstGeom prst="rect">
            <a:avLst/>
          </a:prstGeom>
        </p:spPr>
        <p:txBody>
          <a:bodyPr vert="horz" lIns="91440" tIns="45720" rIns="91440" bIns="45720" rtlCol="0" anchor="ctr"/>
          <a:lstStyle>
            <a:lvl1pPr algn="l">
              <a:defRPr sz="1000">
                <a:solidFill>
                  <a:schemeClr val="tx1"/>
                </a:solidFill>
              </a:defRPr>
            </a:lvl1pPr>
          </a:lstStyle>
          <a:p>
            <a:endParaRPr lang="en-US" dirty="0"/>
          </a:p>
        </p:txBody>
      </p:sp>
      <p:sp>
        <p:nvSpPr>
          <p:cNvPr id="11"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48864" y="6596797"/>
            <a:ext cx="1727200" cy="260593"/>
          </a:xfrm>
          <a:prstGeom prst="rect">
            <a:avLst/>
          </a:prstGeom>
        </p:spPr>
        <p:txBody>
          <a:bodyPr vert="horz" lIns="0" tIns="0" rIns="0" bIns="0" rtlCol="0" anchor="ctr"/>
          <a:lstStyle>
            <a:lvl1pPr algn="ctr">
              <a:defRPr sz="1000" b="0">
                <a:solidFill>
                  <a:schemeClr val="tx1"/>
                </a:solidFill>
              </a:defRPr>
            </a:lvl1pPr>
          </a:lstStyle>
          <a:p>
            <a:r>
              <a:rPr lang="en-US"/>
              <a:t>Date</a:t>
            </a:r>
            <a:endParaRPr lang="en-US" dirty="0"/>
          </a:p>
        </p:txBody>
      </p:sp>
      <p:sp>
        <p:nvSpPr>
          <p:cNvPr id="12" name="Slide Number Placeholder 5">
            <a:extLst>
              <a:ext uri="{FF2B5EF4-FFF2-40B4-BE49-F238E27FC236}">
                <a16:creationId xmlns:a16="http://schemas.microsoft.com/office/drawing/2014/main" id="{ED4D4C61-8619-194B-8CBC-6D26A1A8D157}"/>
              </a:ext>
            </a:extLst>
          </p:cNvPr>
          <p:cNvSpPr>
            <a:spLocks noGrp="1"/>
          </p:cNvSpPr>
          <p:nvPr>
            <p:ph type="sldNum" sz="quarter" idx="4"/>
          </p:nvPr>
        </p:nvSpPr>
        <p:spPr>
          <a:xfrm>
            <a:off x="11676064" y="6596797"/>
            <a:ext cx="515935" cy="261203"/>
          </a:xfrm>
          <a:prstGeom prst="rect">
            <a:avLst/>
          </a:prstGeom>
        </p:spPr>
        <p:txBody>
          <a:bodyPr vert="horz" lIns="0" tIns="0" rIns="0" bIns="0" rtlCol="0" anchor="ctr"/>
          <a:lstStyle>
            <a:lvl1pPr algn="ctr">
              <a:defRPr sz="1000" b="0">
                <a:solidFill>
                  <a:schemeClr val="tx1"/>
                </a:solidFill>
              </a:defRPr>
            </a:lvl1pPr>
          </a:lstStyle>
          <a:p>
            <a:fld id="{F9591D4C-BB8F-AE46-BE73-C616F30BBC5B}"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w/Background">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5C996B-0918-804B-BD4C-32A658B584F3}"/>
              </a:ext>
            </a:extLst>
          </p:cNvPr>
          <p:cNvSpPr/>
          <p:nvPr userDrawn="1"/>
        </p:nvSpPr>
        <p:spPr>
          <a:xfrm>
            <a:off x="0" y="6581819"/>
            <a:ext cx="12191999" cy="276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C94F97E5-7B26-6041-BF85-BD601BCEF688}"/>
              </a:ext>
            </a:extLst>
          </p:cNvPr>
          <p:cNvSpPr/>
          <p:nvPr userDrawn="1"/>
        </p:nvSpPr>
        <p:spPr>
          <a:xfrm>
            <a:off x="0" y="1"/>
            <a:ext cx="12192000" cy="6857999"/>
          </a:xfrm>
          <a:prstGeom prst="rect">
            <a:avLst/>
          </a:prstGeom>
          <a:noFill/>
          <a:ln w="190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B12EB4D1-1B47-C945-BFB8-A1269CA392F7}"/>
              </a:ext>
            </a:extLst>
          </p:cNvPr>
          <p:cNvSpPr>
            <a:spLocks noGrp="1"/>
          </p:cNvSpPr>
          <p:nvPr>
            <p:ph type="title" hasCustomPrompt="1"/>
          </p:nvPr>
        </p:nvSpPr>
        <p:spPr>
          <a:xfrm>
            <a:off x="515938" y="1431382"/>
            <a:ext cx="10969625" cy="412750"/>
          </a:xfrm>
          <a:prstGeom prst="rect">
            <a:avLst/>
          </a:prstGeom>
        </p:spPr>
        <p:txBody>
          <a:bodyPr/>
          <a:lstStyle>
            <a:lvl1pPr>
              <a:defRPr sz="3600">
                <a:solidFill>
                  <a:schemeClr val="accent5"/>
                </a:solidFill>
                <a:latin typeface="Cambria" panose="02040503050406030204" pitchFamily="18" charset="0"/>
              </a:defRPr>
            </a:lvl1pPr>
          </a:lstStyle>
          <a:p>
            <a:r>
              <a:rPr lang="en-US" altLang="x-none"/>
              <a:t>Divider Slide</a:t>
            </a:r>
          </a:p>
        </p:txBody>
      </p:sp>
      <p:sp>
        <p:nvSpPr>
          <p:cNvPr id="8" name="Text Placeholder 1">
            <a:extLst>
              <a:ext uri="{FF2B5EF4-FFF2-40B4-BE49-F238E27FC236}">
                <a16:creationId xmlns:a16="http://schemas.microsoft.com/office/drawing/2014/main" id="{FC917BFA-C928-954E-8176-7D0958DCA0D5}"/>
              </a:ext>
            </a:extLst>
          </p:cNvPr>
          <p:cNvSpPr>
            <a:spLocks noGrp="1"/>
          </p:cNvSpPr>
          <p:nvPr>
            <p:ph type="body" sz="quarter" idx="13" hasCustomPrompt="1"/>
          </p:nvPr>
        </p:nvSpPr>
        <p:spPr>
          <a:xfrm>
            <a:off x="515938" y="1962243"/>
            <a:ext cx="10969625"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a:t>Optional Subtitle</a:t>
            </a:r>
          </a:p>
        </p:txBody>
      </p:sp>
      <p:sp>
        <p:nvSpPr>
          <p:cNvPr id="7" name="TextBox 6">
            <a:extLst>
              <a:ext uri="{FF2B5EF4-FFF2-40B4-BE49-F238E27FC236}">
                <a16:creationId xmlns:a16="http://schemas.microsoft.com/office/drawing/2014/main" id="{FD14F7DB-AE00-4DF4-8C80-EDAC1F09033A}"/>
              </a:ext>
            </a:extLst>
          </p:cNvPr>
          <p:cNvSpPr txBox="1"/>
          <p:nvPr userDrawn="1"/>
        </p:nvSpPr>
        <p:spPr>
          <a:xfrm>
            <a:off x="515938" y="6596798"/>
            <a:ext cx="1727199" cy="246221"/>
          </a:xfrm>
          <a:prstGeom prst="rect">
            <a:avLst/>
          </a:prstGeom>
          <a:noFill/>
        </p:spPr>
        <p:txBody>
          <a:bodyPr wrap="square" lIns="0" rtlCol="0">
            <a:spAutoFit/>
          </a:bodyPr>
          <a:lstStyle/>
          <a:p>
            <a:r>
              <a:rPr lang="en-US" sz="1000" b="0">
                <a:solidFill>
                  <a:schemeClr val="tx1"/>
                </a:solidFill>
              </a:rPr>
              <a:t>www.dlapiper.com</a:t>
            </a:r>
          </a:p>
        </p:txBody>
      </p:sp>
      <p:sp>
        <p:nvSpPr>
          <p:cNvPr id="9" name="Footer Placeholder 1"/>
          <p:cNvSpPr>
            <a:spLocks noGrp="1"/>
          </p:cNvSpPr>
          <p:nvPr>
            <p:ph type="ftr" sz="quarter" idx="3"/>
          </p:nvPr>
        </p:nvSpPr>
        <p:spPr>
          <a:xfrm>
            <a:off x="2387600" y="6596798"/>
            <a:ext cx="7416800" cy="256092"/>
          </a:xfrm>
          <a:prstGeom prst="rect">
            <a:avLst/>
          </a:prstGeom>
        </p:spPr>
        <p:txBody>
          <a:bodyPr vert="horz" lIns="91440" tIns="45720" rIns="91440" bIns="45720" rtlCol="0" anchor="ctr"/>
          <a:lstStyle>
            <a:lvl1pPr algn="l">
              <a:defRPr sz="1000">
                <a:solidFill>
                  <a:schemeClr val="tx1"/>
                </a:solidFill>
              </a:defRPr>
            </a:lvl1pPr>
          </a:lstStyle>
          <a:p>
            <a:endParaRPr lang="en-US"/>
          </a:p>
        </p:txBody>
      </p:sp>
      <p:sp>
        <p:nvSpPr>
          <p:cNvPr id="11"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48864" y="6596797"/>
            <a:ext cx="1727200" cy="260593"/>
          </a:xfrm>
          <a:prstGeom prst="rect">
            <a:avLst/>
          </a:prstGeom>
        </p:spPr>
        <p:txBody>
          <a:bodyPr vert="horz" lIns="0" tIns="0" rIns="0" bIns="0" rtlCol="0" anchor="ctr"/>
          <a:lstStyle>
            <a:lvl1pPr algn="ctr">
              <a:defRPr sz="1000" b="0">
                <a:solidFill>
                  <a:schemeClr val="tx1"/>
                </a:solidFill>
              </a:defRPr>
            </a:lvl1pPr>
          </a:lstStyle>
          <a:p>
            <a:r>
              <a:rPr lang="en-US"/>
              <a:t>Date</a:t>
            </a:r>
          </a:p>
        </p:txBody>
      </p:sp>
      <p:sp>
        <p:nvSpPr>
          <p:cNvPr id="12" name="Slide Number Placeholder 5">
            <a:extLst>
              <a:ext uri="{FF2B5EF4-FFF2-40B4-BE49-F238E27FC236}">
                <a16:creationId xmlns:a16="http://schemas.microsoft.com/office/drawing/2014/main" id="{ED4D4C61-8619-194B-8CBC-6D26A1A8D157}"/>
              </a:ext>
            </a:extLst>
          </p:cNvPr>
          <p:cNvSpPr>
            <a:spLocks noGrp="1"/>
          </p:cNvSpPr>
          <p:nvPr>
            <p:ph type="sldNum" sz="quarter" idx="4"/>
          </p:nvPr>
        </p:nvSpPr>
        <p:spPr>
          <a:xfrm>
            <a:off x="11676064" y="6596797"/>
            <a:ext cx="515935" cy="261203"/>
          </a:xfrm>
          <a:prstGeom prst="rect">
            <a:avLst/>
          </a:prstGeom>
        </p:spPr>
        <p:txBody>
          <a:bodyPr vert="horz" lIns="0" tIns="0" rIns="0" bIns="0" rtlCol="0" anchor="ctr"/>
          <a:lstStyle>
            <a:lvl1pPr algn="ctr">
              <a:defRPr sz="1000" b="0">
                <a:solidFill>
                  <a:schemeClr val="tx1"/>
                </a:solidFill>
              </a:defRPr>
            </a:lvl1pPr>
          </a:lstStyle>
          <a:p>
            <a:fld id="{F9591D4C-BB8F-AE46-BE73-C616F30BBC5B}" type="slidenum">
              <a:rPr lang="en-US" smtClean="0"/>
              <a:pPr/>
              <a:t>‹#›</a:t>
            </a:fld>
            <a:endParaRPr lang="en-US"/>
          </a:p>
        </p:txBody>
      </p:sp>
    </p:spTree>
    <p:extLst>
      <p:ext uri="{BB962C8B-B14F-4D97-AF65-F5344CB8AC3E}">
        <p14:creationId xmlns:p14="http://schemas.microsoft.com/office/powerpoint/2010/main" val="31475584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mage">
    <p:bg>
      <p:bgPr>
        <a:solidFill>
          <a:schemeClr val="tx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B5C996B-0918-804B-BD4C-32A658B584F3}"/>
              </a:ext>
            </a:extLst>
          </p:cNvPr>
          <p:cNvSpPr/>
          <p:nvPr userDrawn="1"/>
        </p:nvSpPr>
        <p:spPr>
          <a:xfrm>
            <a:off x="-1" y="6581819"/>
            <a:ext cx="12191999" cy="276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5A614D23-A84A-8745-9FF1-46CC0873C2CA}"/>
              </a:ext>
            </a:extLst>
          </p:cNvPr>
          <p:cNvSpPr/>
          <p:nvPr userDrawn="1"/>
        </p:nvSpPr>
        <p:spPr>
          <a:xfrm>
            <a:off x="0" y="1"/>
            <a:ext cx="12192000" cy="6857999"/>
          </a:xfrm>
          <a:prstGeom prst="rect">
            <a:avLst/>
          </a:prstGeom>
          <a:noFill/>
          <a:ln w="190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B12EB4D1-1B47-C945-BFB8-A1269CA392F7}"/>
              </a:ext>
            </a:extLst>
          </p:cNvPr>
          <p:cNvSpPr>
            <a:spLocks noGrp="1"/>
          </p:cNvSpPr>
          <p:nvPr>
            <p:ph type="title" hasCustomPrompt="1"/>
          </p:nvPr>
        </p:nvSpPr>
        <p:spPr>
          <a:xfrm>
            <a:off x="515938" y="1431382"/>
            <a:ext cx="10969625" cy="412750"/>
          </a:xfrm>
          <a:prstGeom prst="rect">
            <a:avLst/>
          </a:prstGeom>
        </p:spPr>
        <p:txBody>
          <a:bodyPr/>
          <a:lstStyle>
            <a:lvl1pPr>
              <a:defRPr sz="3600">
                <a:solidFill>
                  <a:schemeClr val="accent5"/>
                </a:solidFill>
                <a:latin typeface="Cambria" panose="02040503050406030204" pitchFamily="18" charset="0"/>
              </a:defRPr>
            </a:lvl1pPr>
          </a:lstStyle>
          <a:p>
            <a:r>
              <a:rPr lang="en-US" altLang="x-none" dirty="0"/>
              <a:t>Divider Slide</a:t>
            </a:r>
          </a:p>
        </p:txBody>
      </p:sp>
      <p:sp>
        <p:nvSpPr>
          <p:cNvPr id="8" name="Text Placeholder 1">
            <a:extLst>
              <a:ext uri="{FF2B5EF4-FFF2-40B4-BE49-F238E27FC236}">
                <a16:creationId xmlns:a16="http://schemas.microsoft.com/office/drawing/2014/main" id="{FC917BFA-C928-954E-8176-7D0958DCA0D5}"/>
              </a:ext>
            </a:extLst>
          </p:cNvPr>
          <p:cNvSpPr>
            <a:spLocks noGrp="1"/>
          </p:cNvSpPr>
          <p:nvPr>
            <p:ph type="body" sz="quarter" idx="13" hasCustomPrompt="1"/>
          </p:nvPr>
        </p:nvSpPr>
        <p:spPr>
          <a:xfrm>
            <a:off x="515938" y="1962243"/>
            <a:ext cx="10969625"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7" name="TextBox 6">
            <a:extLst>
              <a:ext uri="{FF2B5EF4-FFF2-40B4-BE49-F238E27FC236}">
                <a16:creationId xmlns:a16="http://schemas.microsoft.com/office/drawing/2014/main" id="{FD14F7DB-AE00-4DF4-8C80-EDAC1F09033A}"/>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sp>
        <p:nvSpPr>
          <p:cNvPr id="9" name="Footer Placeholder 1"/>
          <p:cNvSpPr>
            <a:spLocks noGrp="1"/>
          </p:cNvSpPr>
          <p:nvPr>
            <p:ph type="ftr" sz="quarter" idx="3"/>
          </p:nvPr>
        </p:nvSpPr>
        <p:spPr>
          <a:xfrm>
            <a:off x="2387600" y="6596798"/>
            <a:ext cx="7416800" cy="256092"/>
          </a:xfrm>
          <a:prstGeom prst="rect">
            <a:avLst/>
          </a:prstGeom>
        </p:spPr>
        <p:txBody>
          <a:bodyPr vert="horz" lIns="91440" tIns="45720" rIns="91440" bIns="45720" rtlCol="0" anchor="ctr"/>
          <a:lstStyle>
            <a:lvl1pPr algn="l">
              <a:defRPr sz="1000">
                <a:solidFill>
                  <a:schemeClr val="tx1"/>
                </a:solidFill>
              </a:defRPr>
            </a:lvl1pPr>
          </a:lstStyle>
          <a:p>
            <a:endParaRPr lang="en-US" dirty="0"/>
          </a:p>
        </p:txBody>
      </p:sp>
      <p:sp>
        <p:nvSpPr>
          <p:cNvPr id="11"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48864" y="6596797"/>
            <a:ext cx="1727200" cy="260593"/>
          </a:xfrm>
          <a:prstGeom prst="rect">
            <a:avLst/>
          </a:prstGeom>
        </p:spPr>
        <p:txBody>
          <a:bodyPr vert="horz" lIns="0" tIns="0" rIns="0" bIns="0" rtlCol="0" anchor="ctr"/>
          <a:lstStyle>
            <a:lvl1pPr algn="ctr">
              <a:defRPr sz="1000" b="0">
                <a:solidFill>
                  <a:schemeClr val="tx1"/>
                </a:solidFill>
              </a:defRPr>
            </a:lvl1pPr>
          </a:lstStyle>
          <a:p>
            <a:r>
              <a:rPr lang="en-US"/>
              <a:t>Date</a:t>
            </a:r>
            <a:endParaRPr lang="en-US" dirty="0"/>
          </a:p>
        </p:txBody>
      </p:sp>
      <p:sp>
        <p:nvSpPr>
          <p:cNvPr id="12" name="Slide Number Placeholder 5">
            <a:extLst>
              <a:ext uri="{FF2B5EF4-FFF2-40B4-BE49-F238E27FC236}">
                <a16:creationId xmlns:a16="http://schemas.microsoft.com/office/drawing/2014/main" id="{ED4D4C61-8619-194B-8CBC-6D26A1A8D157}"/>
              </a:ext>
            </a:extLst>
          </p:cNvPr>
          <p:cNvSpPr>
            <a:spLocks noGrp="1"/>
          </p:cNvSpPr>
          <p:nvPr>
            <p:ph type="sldNum" sz="quarter" idx="4"/>
          </p:nvPr>
        </p:nvSpPr>
        <p:spPr>
          <a:xfrm>
            <a:off x="11676064" y="6596797"/>
            <a:ext cx="515935" cy="261203"/>
          </a:xfrm>
          <a:prstGeom prst="rect">
            <a:avLst/>
          </a:prstGeom>
        </p:spPr>
        <p:txBody>
          <a:bodyPr vert="horz" lIns="0" tIns="0" rIns="0" bIns="0" rtlCol="0" anchor="ctr"/>
          <a:lstStyle>
            <a:lvl1pPr algn="ctr">
              <a:defRPr sz="1000" b="0">
                <a:solidFill>
                  <a:schemeClr val="tx1"/>
                </a:solidFill>
              </a:defRPr>
            </a:lvl1pPr>
          </a:lstStyle>
          <a:p>
            <a:fld id="{F9591D4C-BB8F-AE46-BE73-C616F30BBC5B}" type="slidenum">
              <a:rPr lang="en-US" smtClean="0"/>
              <a:pPr/>
              <a:t>‹#›</a:t>
            </a:fld>
            <a:endParaRPr lang="en-US" dirty="0"/>
          </a:p>
        </p:txBody>
      </p:sp>
      <p:sp>
        <p:nvSpPr>
          <p:cNvPr id="10" name="Picture Placeholder 3">
            <a:extLst>
              <a:ext uri="{FF2B5EF4-FFF2-40B4-BE49-F238E27FC236}">
                <a16:creationId xmlns:a16="http://schemas.microsoft.com/office/drawing/2014/main" id="{8FE3E370-8AA3-324B-B9CA-F20864AA9415}"/>
              </a:ext>
            </a:extLst>
          </p:cNvPr>
          <p:cNvSpPr>
            <a:spLocks noGrp="1"/>
          </p:cNvSpPr>
          <p:nvPr>
            <p:ph type="pic" sz="quarter" idx="18"/>
          </p:nvPr>
        </p:nvSpPr>
        <p:spPr>
          <a:xfrm>
            <a:off x="0" y="3435657"/>
            <a:ext cx="12191999" cy="3146159"/>
          </a:xfrm>
          <a:prstGeom prst="rect">
            <a:avLst/>
          </a:prstGeom>
          <a:solidFill>
            <a:schemeClr val="bg2"/>
          </a:solidFill>
        </p:spPr>
        <p:txBody>
          <a:bodyPr/>
          <a:lstStyle/>
          <a:p>
            <a:r>
              <a:rPr lang="en-US"/>
              <a:t>Click icon to add picture</a:t>
            </a:r>
            <a:endParaRPr lang="en-US" dirty="0"/>
          </a:p>
        </p:txBody>
      </p:sp>
      <p:cxnSp>
        <p:nvCxnSpPr>
          <p:cNvPr id="14" name="Straight Connector 13"/>
          <p:cNvCxnSpPr/>
          <p:nvPr userDrawn="1"/>
        </p:nvCxnSpPr>
        <p:spPr>
          <a:xfrm>
            <a:off x="0" y="6582427"/>
            <a:ext cx="12192000" cy="0"/>
          </a:xfrm>
          <a:prstGeom prst="line">
            <a:avLst/>
          </a:prstGeom>
          <a:ln w="190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7671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5C996B-0918-804B-BD4C-32A658B584F3}"/>
              </a:ext>
            </a:extLst>
          </p:cNvPr>
          <p:cNvSpPr/>
          <p:nvPr userDrawn="1"/>
        </p:nvSpPr>
        <p:spPr>
          <a:xfrm>
            <a:off x="0" y="6581819"/>
            <a:ext cx="12191999" cy="276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856926C-4DD1-A84D-AFCF-296FEB703257}"/>
              </a:ext>
            </a:extLst>
          </p:cNvPr>
          <p:cNvSpPr/>
          <p:nvPr userDrawn="1"/>
        </p:nvSpPr>
        <p:spPr>
          <a:xfrm>
            <a:off x="0" y="1"/>
            <a:ext cx="12192000" cy="6857999"/>
          </a:xfrm>
          <a:prstGeom prst="rect">
            <a:avLst/>
          </a:prstGeom>
          <a:noFill/>
          <a:ln w="190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a:extLst>
              <a:ext uri="{FF2B5EF4-FFF2-40B4-BE49-F238E27FC236}">
                <a16:creationId xmlns:a16="http://schemas.microsoft.com/office/drawing/2014/main" id="{B12EB4D1-1B47-C945-BFB8-A1269CA392F7}"/>
              </a:ext>
            </a:extLst>
          </p:cNvPr>
          <p:cNvSpPr>
            <a:spLocks noGrp="1"/>
          </p:cNvSpPr>
          <p:nvPr>
            <p:ph type="title" hasCustomPrompt="1"/>
          </p:nvPr>
        </p:nvSpPr>
        <p:spPr>
          <a:xfrm>
            <a:off x="2400302" y="368300"/>
            <a:ext cx="7391398" cy="3081910"/>
          </a:xfrm>
          <a:prstGeom prst="rect">
            <a:avLst/>
          </a:prstGeom>
        </p:spPr>
        <p:txBody>
          <a:bodyPr anchor="ctr" anchorCtr="1"/>
          <a:lstStyle>
            <a:lvl1pPr algn="ctr">
              <a:lnSpc>
                <a:spcPct val="100000"/>
              </a:lnSpc>
              <a:spcAft>
                <a:spcPts val="600"/>
              </a:spcAft>
              <a:defRPr sz="3600" i="1">
                <a:solidFill>
                  <a:schemeClr val="bg1"/>
                </a:solidFill>
                <a:latin typeface="Cambria" panose="02040503050406030204" pitchFamily="18" charset="0"/>
              </a:defRPr>
            </a:lvl1pPr>
          </a:lstStyle>
          <a:p>
            <a:r>
              <a:rPr lang="en-US" altLang="x-none" dirty="0"/>
              <a:t>“Insert Quote”</a:t>
            </a:r>
          </a:p>
        </p:txBody>
      </p:sp>
      <p:sp>
        <p:nvSpPr>
          <p:cNvPr id="7" name="TextBox 6">
            <a:extLst>
              <a:ext uri="{FF2B5EF4-FFF2-40B4-BE49-F238E27FC236}">
                <a16:creationId xmlns:a16="http://schemas.microsoft.com/office/drawing/2014/main" id="{FD14F7DB-AE00-4DF4-8C80-EDAC1F09033A}"/>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sp>
        <p:nvSpPr>
          <p:cNvPr id="9" name="Footer Placeholder 1"/>
          <p:cNvSpPr>
            <a:spLocks noGrp="1"/>
          </p:cNvSpPr>
          <p:nvPr>
            <p:ph type="ftr" sz="quarter" idx="3"/>
          </p:nvPr>
        </p:nvSpPr>
        <p:spPr>
          <a:xfrm>
            <a:off x="2387600" y="6596798"/>
            <a:ext cx="7416800" cy="256092"/>
          </a:xfrm>
          <a:prstGeom prst="rect">
            <a:avLst/>
          </a:prstGeom>
        </p:spPr>
        <p:txBody>
          <a:bodyPr vert="horz" lIns="91440" tIns="45720" rIns="91440" bIns="45720" rtlCol="0" anchor="ctr"/>
          <a:lstStyle>
            <a:lvl1pPr algn="l">
              <a:defRPr sz="1000">
                <a:solidFill>
                  <a:schemeClr val="tx1"/>
                </a:solidFill>
              </a:defRPr>
            </a:lvl1pPr>
          </a:lstStyle>
          <a:p>
            <a:endParaRPr lang="en-US" dirty="0"/>
          </a:p>
        </p:txBody>
      </p:sp>
      <p:sp>
        <p:nvSpPr>
          <p:cNvPr id="11"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48864" y="6596797"/>
            <a:ext cx="1727200" cy="260593"/>
          </a:xfrm>
          <a:prstGeom prst="rect">
            <a:avLst/>
          </a:prstGeom>
        </p:spPr>
        <p:txBody>
          <a:bodyPr vert="horz" lIns="0" tIns="0" rIns="0" bIns="0" rtlCol="0" anchor="ctr"/>
          <a:lstStyle>
            <a:lvl1pPr algn="ctr">
              <a:defRPr sz="1000" b="0">
                <a:solidFill>
                  <a:schemeClr val="tx1"/>
                </a:solidFill>
              </a:defRPr>
            </a:lvl1pPr>
          </a:lstStyle>
          <a:p>
            <a:r>
              <a:rPr lang="en-US"/>
              <a:t>Date</a:t>
            </a:r>
            <a:endParaRPr lang="en-US" dirty="0"/>
          </a:p>
        </p:txBody>
      </p:sp>
      <p:sp>
        <p:nvSpPr>
          <p:cNvPr id="12" name="Slide Number Placeholder 5">
            <a:extLst>
              <a:ext uri="{FF2B5EF4-FFF2-40B4-BE49-F238E27FC236}">
                <a16:creationId xmlns:a16="http://schemas.microsoft.com/office/drawing/2014/main" id="{ED4D4C61-8619-194B-8CBC-6D26A1A8D157}"/>
              </a:ext>
            </a:extLst>
          </p:cNvPr>
          <p:cNvSpPr>
            <a:spLocks noGrp="1"/>
          </p:cNvSpPr>
          <p:nvPr>
            <p:ph type="sldNum" sz="quarter" idx="4"/>
          </p:nvPr>
        </p:nvSpPr>
        <p:spPr>
          <a:xfrm>
            <a:off x="11676064" y="6596797"/>
            <a:ext cx="515935" cy="261203"/>
          </a:xfrm>
          <a:prstGeom prst="rect">
            <a:avLst/>
          </a:prstGeom>
        </p:spPr>
        <p:txBody>
          <a:bodyPr vert="horz" lIns="0" tIns="0" rIns="0" bIns="0" rtlCol="0" anchor="ctr"/>
          <a:lstStyle>
            <a:lvl1pPr algn="ctr">
              <a:defRPr sz="1000" b="0">
                <a:solidFill>
                  <a:schemeClr val="tx1"/>
                </a:solidFill>
              </a:defRPr>
            </a:lvl1pPr>
          </a:lstStyle>
          <a:p>
            <a:fld id="{F9591D4C-BB8F-AE46-BE73-C616F30BBC5B}" type="slidenum">
              <a:rPr lang="en-US" smtClean="0"/>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and Image 1 -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7389435"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738943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8" y="368300"/>
            <a:ext cx="7392196"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6" name="Picture Placeholder 3">
            <a:extLst>
              <a:ext uri="{FF2B5EF4-FFF2-40B4-BE49-F238E27FC236}">
                <a16:creationId xmlns:a16="http://schemas.microsoft.com/office/drawing/2014/main" id="{A643DD79-296D-1D4D-9489-1DCF3F20B120}"/>
              </a:ext>
            </a:extLst>
          </p:cNvPr>
          <p:cNvSpPr>
            <a:spLocks noGrp="1"/>
          </p:cNvSpPr>
          <p:nvPr>
            <p:ph type="pic" sz="quarter" idx="18"/>
          </p:nvPr>
        </p:nvSpPr>
        <p:spPr>
          <a:xfrm>
            <a:off x="8521549" y="0"/>
            <a:ext cx="3670450" cy="6581817"/>
          </a:xfrm>
          <a:prstGeom prst="rect">
            <a:avLst/>
          </a:prstGeom>
          <a:solidFill>
            <a:schemeClr val="bg2"/>
          </a:solidFill>
        </p:spPr>
        <p:txBody>
          <a:bodyPr/>
          <a:lstStyle/>
          <a:p>
            <a:r>
              <a:rPr lang="en-US"/>
              <a:t>Click icon to add picture</a:t>
            </a:r>
          </a:p>
        </p:txBody>
      </p:sp>
      <p:sp>
        <p:nvSpPr>
          <p:cNvPr id="13" name="Content Placeholder 8"/>
          <p:cNvSpPr>
            <a:spLocks noGrp="1"/>
          </p:cNvSpPr>
          <p:nvPr>
            <p:ph sz="quarter" idx="19"/>
          </p:nvPr>
        </p:nvSpPr>
        <p:spPr>
          <a:xfrm>
            <a:off x="515938" y="1882171"/>
            <a:ext cx="7386637" cy="442655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Image 1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B5C996B-0918-804B-BD4C-32A658B584F3}"/>
              </a:ext>
            </a:extLst>
          </p:cNvPr>
          <p:cNvSpPr/>
          <p:nvPr userDrawn="1"/>
        </p:nvSpPr>
        <p:spPr>
          <a:xfrm>
            <a:off x="-1" y="0"/>
            <a:ext cx="8525690" cy="65818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7389348"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tx1"/>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tx1"/>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9" y="899161"/>
            <a:ext cx="7383796"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2" name="Title 1"/>
          <p:cNvSpPr>
            <a:spLocks noGrp="1"/>
          </p:cNvSpPr>
          <p:nvPr>
            <p:ph type="title" hasCustomPrompt="1"/>
          </p:nvPr>
        </p:nvSpPr>
        <p:spPr>
          <a:xfrm>
            <a:off x="515938" y="368300"/>
            <a:ext cx="7386559" cy="577153"/>
          </a:xfrm>
        </p:spPr>
        <p:txBody>
          <a:bodyPr/>
          <a:lstStyle>
            <a:lvl1pPr>
              <a:defRPr>
                <a:solidFill>
                  <a:schemeClr val="bg1"/>
                </a:solidFill>
              </a:defRPr>
            </a:lvl1p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tx1"/>
                </a:solidFill>
              </a:defRPr>
            </a:lvl1pPr>
          </a:lstStyle>
          <a:p>
            <a:endParaRPr lang="en-US" dirty="0"/>
          </a:p>
        </p:txBody>
      </p:sp>
      <p:sp>
        <p:nvSpPr>
          <p:cNvPr id="12" name="Picture Placeholder 3">
            <a:extLst>
              <a:ext uri="{FF2B5EF4-FFF2-40B4-BE49-F238E27FC236}">
                <a16:creationId xmlns:a16="http://schemas.microsoft.com/office/drawing/2014/main" id="{A643DD79-296D-1D4D-9489-1DCF3F20B120}"/>
              </a:ext>
            </a:extLst>
          </p:cNvPr>
          <p:cNvSpPr>
            <a:spLocks noGrp="1"/>
          </p:cNvSpPr>
          <p:nvPr>
            <p:ph type="pic" sz="quarter" idx="18"/>
          </p:nvPr>
        </p:nvSpPr>
        <p:spPr>
          <a:xfrm>
            <a:off x="8525690" y="0"/>
            <a:ext cx="3666309" cy="6581817"/>
          </a:xfrm>
          <a:prstGeom prst="rect">
            <a:avLst/>
          </a:prstGeom>
          <a:solidFill>
            <a:schemeClr val="bg2"/>
          </a:solidFill>
        </p:spPr>
        <p:txBody>
          <a:bodyPr/>
          <a:lstStyle/>
          <a:p>
            <a:r>
              <a:rPr lang="en-US"/>
              <a:t>Click icon to add picture</a:t>
            </a:r>
          </a:p>
        </p:txBody>
      </p:sp>
      <p:sp>
        <p:nvSpPr>
          <p:cNvPr id="13" name="Content Placeholder 8"/>
          <p:cNvSpPr>
            <a:spLocks noGrp="1"/>
          </p:cNvSpPr>
          <p:nvPr>
            <p:ph sz="quarter" idx="19"/>
          </p:nvPr>
        </p:nvSpPr>
        <p:spPr>
          <a:xfrm>
            <a:off x="515938" y="1882171"/>
            <a:ext cx="7386637" cy="4426554"/>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Box 15">
            <a:extLst>
              <a:ext uri="{FF2B5EF4-FFF2-40B4-BE49-F238E27FC236}">
                <a16:creationId xmlns:a16="http://schemas.microsoft.com/office/drawing/2014/main" id="{6CBF0F17-D7C8-7243-BD94-CF6519775FE5}"/>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cxnSp>
        <p:nvCxnSpPr>
          <p:cNvPr id="18" name="Straight Connector 17"/>
          <p:cNvCxnSpPr/>
          <p:nvPr userDrawn="1"/>
        </p:nvCxnSpPr>
        <p:spPr>
          <a:xfrm>
            <a:off x="0" y="6582427"/>
            <a:ext cx="12192000" cy="0"/>
          </a:xfrm>
          <a:prstGeom prst="line">
            <a:avLst/>
          </a:prstGeom>
          <a:ln w="1905">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Image 2 -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5500681"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5500681"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8" y="368300"/>
            <a:ext cx="5504825"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6" name="Picture Placeholder 3">
            <a:extLst>
              <a:ext uri="{FF2B5EF4-FFF2-40B4-BE49-F238E27FC236}">
                <a16:creationId xmlns:a16="http://schemas.microsoft.com/office/drawing/2014/main" id="{A643DD79-296D-1D4D-9489-1DCF3F20B120}"/>
              </a:ext>
            </a:extLst>
          </p:cNvPr>
          <p:cNvSpPr>
            <a:spLocks noGrp="1"/>
          </p:cNvSpPr>
          <p:nvPr>
            <p:ph type="pic" sz="quarter" idx="18"/>
          </p:nvPr>
        </p:nvSpPr>
        <p:spPr>
          <a:xfrm>
            <a:off x="6544300" y="0"/>
            <a:ext cx="5647699" cy="6581817"/>
          </a:xfrm>
          <a:prstGeom prst="rect">
            <a:avLst/>
          </a:prstGeom>
          <a:solidFill>
            <a:schemeClr val="bg2"/>
          </a:solidFill>
        </p:spPr>
        <p:txBody>
          <a:bodyPr/>
          <a:lstStyle/>
          <a:p>
            <a:r>
              <a:rPr lang="en-US"/>
              <a:t>Click icon to add picture</a:t>
            </a:r>
          </a:p>
        </p:txBody>
      </p:sp>
      <p:sp>
        <p:nvSpPr>
          <p:cNvPr id="13" name="Content Placeholder 8"/>
          <p:cNvSpPr>
            <a:spLocks noGrp="1"/>
          </p:cNvSpPr>
          <p:nvPr>
            <p:ph sz="quarter" idx="19"/>
          </p:nvPr>
        </p:nvSpPr>
        <p:spPr>
          <a:xfrm>
            <a:off x="515938" y="1882171"/>
            <a:ext cx="5500687" cy="442655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0904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Image 2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B5C996B-0918-804B-BD4C-32A658B584F3}"/>
              </a:ext>
            </a:extLst>
          </p:cNvPr>
          <p:cNvSpPr/>
          <p:nvPr userDrawn="1"/>
        </p:nvSpPr>
        <p:spPr>
          <a:xfrm>
            <a:off x="-1" y="0"/>
            <a:ext cx="6544299" cy="65818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9" y="1432200"/>
            <a:ext cx="5500676"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tx1"/>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tx1"/>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9" y="899161"/>
            <a:ext cx="5496543"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2" name="Title 1"/>
          <p:cNvSpPr>
            <a:spLocks noGrp="1"/>
          </p:cNvSpPr>
          <p:nvPr>
            <p:ph type="title" hasCustomPrompt="1"/>
          </p:nvPr>
        </p:nvSpPr>
        <p:spPr>
          <a:xfrm>
            <a:off x="515937" y="368300"/>
            <a:ext cx="5500689" cy="577153"/>
          </a:xfrm>
        </p:spPr>
        <p:txBody>
          <a:bodyPr/>
          <a:lstStyle>
            <a:lvl1pPr>
              <a:defRPr>
                <a:solidFill>
                  <a:schemeClr val="bg1"/>
                </a:solidFill>
              </a:defRPr>
            </a:lvl1p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tx1"/>
                </a:solidFill>
              </a:defRPr>
            </a:lvl1pPr>
          </a:lstStyle>
          <a:p>
            <a:endParaRPr lang="en-US" dirty="0"/>
          </a:p>
        </p:txBody>
      </p:sp>
      <p:sp>
        <p:nvSpPr>
          <p:cNvPr id="12" name="Picture Placeholder 3">
            <a:extLst>
              <a:ext uri="{FF2B5EF4-FFF2-40B4-BE49-F238E27FC236}">
                <a16:creationId xmlns:a16="http://schemas.microsoft.com/office/drawing/2014/main" id="{A643DD79-296D-1D4D-9489-1DCF3F20B120}"/>
              </a:ext>
            </a:extLst>
          </p:cNvPr>
          <p:cNvSpPr>
            <a:spLocks noGrp="1"/>
          </p:cNvSpPr>
          <p:nvPr>
            <p:ph type="pic" sz="quarter" idx="18"/>
          </p:nvPr>
        </p:nvSpPr>
        <p:spPr>
          <a:xfrm>
            <a:off x="6544300" y="0"/>
            <a:ext cx="5647699" cy="6581817"/>
          </a:xfrm>
          <a:prstGeom prst="rect">
            <a:avLst/>
          </a:prstGeom>
          <a:solidFill>
            <a:schemeClr val="bg2"/>
          </a:solidFill>
        </p:spPr>
        <p:txBody>
          <a:bodyPr/>
          <a:lstStyle/>
          <a:p>
            <a:r>
              <a:rPr lang="en-US"/>
              <a:t>Click icon to add picture</a:t>
            </a:r>
          </a:p>
        </p:txBody>
      </p:sp>
      <p:sp>
        <p:nvSpPr>
          <p:cNvPr id="13" name="Content Placeholder 8"/>
          <p:cNvSpPr>
            <a:spLocks noGrp="1"/>
          </p:cNvSpPr>
          <p:nvPr>
            <p:ph sz="quarter" idx="19"/>
          </p:nvPr>
        </p:nvSpPr>
        <p:spPr>
          <a:xfrm>
            <a:off x="515937" y="1882171"/>
            <a:ext cx="5500688" cy="4426554"/>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Box 15">
            <a:extLst>
              <a:ext uri="{FF2B5EF4-FFF2-40B4-BE49-F238E27FC236}">
                <a16:creationId xmlns:a16="http://schemas.microsoft.com/office/drawing/2014/main" id="{54F65428-031B-6B4C-AE35-E0B11D3D3315}"/>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spTree>
    <p:extLst>
      <p:ext uri="{BB962C8B-B14F-4D97-AF65-F5344CB8AC3E}">
        <p14:creationId xmlns:p14="http://schemas.microsoft.com/office/powerpoint/2010/main" val="40022957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 3 - Whit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4"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9" y="368300"/>
            <a:ext cx="11160124"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3" name="Picture Placeholder 3">
            <a:extLst>
              <a:ext uri="{FF2B5EF4-FFF2-40B4-BE49-F238E27FC236}">
                <a16:creationId xmlns:a16="http://schemas.microsoft.com/office/drawing/2014/main" id="{A643DD79-296D-1D4D-9489-1DCF3F20B120}"/>
              </a:ext>
            </a:extLst>
          </p:cNvPr>
          <p:cNvSpPr>
            <a:spLocks noGrp="1"/>
          </p:cNvSpPr>
          <p:nvPr>
            <p:ph type="pic" sz="quarter" idx="18"/>
          </p:nvPr>
        </p:nvSpPr>
        <p:spPr>
          <a:xfrm>
            <a:off x="0" y="3671047"/>
            <a:ext cx="12191999" cy="2910770"/>
          </a:xfrm>
          <a:prstGeom prst="rect">
            <a:avLst/>
          </a:prstGeom>
          <a:solidFill>
            <a:schemeClr val="bg2"/>
          </a:solidFill>
        </p:spPr>
        <p:txBody>
          <a:bodyPr/>
          <a:lstStyle/>
          <a:p>
            <a:r>
              <a:rPr lang="en-US"/>
              <a:t>Click icon to add picture</a:t>
            </a:r>
          </a:p>
        </p:txBody>
      </p:sp>
      <p:sp>
        <p:nvSpPr>
          <p:cNvPr id="11" name="Content Placeholder 8"/>
          <p:cNvSpPr>
            <a:spLocks noGrp="1"/>
          </p:cNvSpPr>
          <p:nvPr>
            <p:ph sz="quarter" idx="19"/>
          </p:nvPr>
        </p:nvSpPr>
        <p:spPr>
          <a:xfrm>
            <a:off x="515938" y="1432200"/>
            <a:ext cx="11160125" cy="2047831"/>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3 - Dar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B5C996B-0918-804B-BD4C-32A658B584F3}"/>
              </a:ext>
            </a:extLst>
          </p:cNvPr>
          <p:cNvSpPr/>
          <p:nvPr userDrawn="1"/>
        </p:nvSpPr>
        <p:spPr>
          <a:xfrm>
            <a:off x="0" y="0"/>
            <a:ext cx="12191998" cy="36710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tx1"/>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tx1"/>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9" y="899161"/>
            <a:ext cx="11151740"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2" name="Title 1"/>
          <p:cNvSpPr>
            <a:spLocks noGrp="1"/>
          </p:cNvSpPr>
          <p:nvPr>
            <p:ph type="title" hasCustomPrompt="1"/>
          </p:nvPr>
        </p:nvSpPr>
        <p:spPr>
          <a:xfrm>
            <a:off x="515939" y="368300"/>
            <a:ext cx="11151744" cy="577153"/>
          </a:xfrm>
        </p:spPr>
        <p:txBody>
          <a:bodyPr/>
          <a:lstStyle>
            <a:lvl1pPr>
              <a:defRPr>
                <a:solidFill>
                  <a:schemeClr val="bg1"/>
                </a:solidFill>
              </a:defRPr>
            </a:lvl1p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tx1"/>
                </a:solidFill>
              </a:defRPr>
            </a:lvl1pPr>
          </a:lstStyle>
          <a:p>
            <a:endParaRPr lang="en-US" dirty="0"/>
          </a:p>
        </p:txBody>
      </p:sp>
      <p:sp>
        <p:nvSpPr>
          <p:cNvPr id="12" name="Picture Placeholder 3">
            <a:extLst>
              <a:ext uri="{FF2B5EF4-FFF2-40B4-BE49-F238E27FC236}">
                <a16:creationId xmlns:a16="http://schemas.microsoft.com/office/drawing/2014/main" id="{A643DD79-296D-1D4D-9489-1DCF3F20B120}"/>
              </a:ext>
            </a:extLst>
          </p:cNvPr>
          <p:cNvSpPr>
            <a:spLocks noGrp="1"/>
          </p:cNvSpPr>
          <p:nvPr>
            <p:ph type="pic" sz="quarter" idx="18"/>
          </p:nvPr>
        </p:nvSpPr>
        <p:spPr>
          <a:xfrm>
            <a:off x="0" y="3671047"/>
            <a:ext cx="12191999" cy="2910770"/>
          </a:xfrm>
          <a:prstGeom prst="rect">
            <a:avLst/>
          </a:prstGeom>
          <a:solidFill>
            <a:schemeClr val="bg2"/>
          </a:solidFill>
        </p:spPr>
        <p:txBody>
          <a:bodyPr/>
          <a:lstStyle/>
          <a:p>
            <a:r>
              <a:rPr lang="en-US"/>
              <a:t>Click icon to add picture</a:t>
            </a:r>
          </a:p>
        </p:txBody>
      </p:sp>
      <p:sp>
        <p:nvSpPr>
          <p:cNvPr id="13" name="Content Placeholder 8"/>
          <p:cNvSpPr>
            <a:spLocks noGrp="1"/>
          </p:cNvSpPr>
          <p:nvPr>
            <p:ph sz="quarter" idx="19"/>
          </p:nvPr>
        </p:nvSpPr>
        <p:spPr>
          <a:xfrm>
            <a:off x="515938" y="1431926"/>
            <a:ext cx="11160125" cy="2048106"/>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Box 9">
            <a:extLst>
              <a:ext uri="{FF2B5EF4-FFF2-40B4-BE49-F238E27FC236}">
                <a16:creationId xmlns:a16="http://schemas.microsoft.com/office/drawing/2014/main" id="{5F3931A9-2131-D746-8471-7C1586A1E156}"/>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tx1"/>
                </a:solidFill>
              </a:rPr>
              <a:t>www.dlapiper.com</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Page x 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4"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7" y="368300"/>
            <a:ext cx="11160125"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3" name="Picture Placeholder 3">
            <a:extLst>
              <a:ext uri="{FF2B5EF4-FFF2-40B4-BE49-F238E27FC236}">
                <a16:creationId xmlns:a16="http://schemas.microsoft.com/office/drawing/2014/main" id="{A643DD79-296D-1D4D-9489-1DCF3F20B120}"/>
              </a:ext>
            </a:extLst>
          </p:cNvPr>
          <p:cNvSpPr>
            <a:spLocks noGrp="1"/>
          </p:cNvSpPr>
          <p:nvPr>
            <p:ph type="pic" sz="quarter" idx="18"/>
          </p:nvPr>
        </p:nvSpPr>
        <p:spPr>
          <a:xfrm>
            <a:off x="515937" y="1867800"/>
            <a:ext cx="11160126" cy="4221056"/>
          </a:xfrm>
          <a:prstGeom prst="rect">
            <a:avLst/>
          </a:prstGeom>
          <a:solidFill>
            <a:schemeClr val="bg2"/>
          </a:solidFill>
        </p:spPr>
        <p:txBody>
          <a:bodyPr/>
          <a:lstStyle/>
          <a:p>
            <a:r>
              <a:rPr lang="en-US"/>
              <a:t>Click icon to add picture</a:t>
            </a:r>
          </a:p>
        </p:txBody>
      </p:sp>
      <p:sp>
        <p:nvSpPr>
          <p:cNvPr id="11"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11160124"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6" name="Text Placeholder 4">
            <a:extLst>
              <a:ext uri="{FF2B5EF4-FFF2-40B4-BE49-F238E27FC236}">
                <a16:creationId xmlns:a16="http://schemas.microsoft.com/office/drawing/2014/main" id="{3A869F09-321E-4B40-A232-56F628E3867D}"/>
              </a:ext>
            </a:extLst>
          </p:cNvPr>
          <p:cNvSpPr>
            <a:spLocks noGrp="1"/>
          </p:cNvSpPr>
          <p:nvPr>
            <p:ph type="body" sz="quarter" idx="19" hasCustomPrompt="1"/>
          </p:nvPr>
        </p:nvSpPr>
        <p:spPr>
          <a:xfrm>
            <a:off x="515937" y="6093965"/>
            <a:ext cx="11160126" cy="214760"/>
          </a:xfrm>
          <a:prstGeom prst="rect">
            <a:avLst/>
          </a:prstGeom>
        </p:spPr>
        <p:txBody>
          <a:bodyPr/>
          <a:lstStyle>
            <a:lvl1pPr marL="0" indent="0">
              <a:lnSpc>
                <a:spcPct val="100000"/>
              </a:lnSpc>
              <a:buNone/>
              <a:defRPr sz="1200">
                <a:solidFill>
                  <a:schemeClr val="tx2"/>
                </a:solidFill>
              </a:defRPr>
            </a:lvl1pPr>
          </a:lstStyle>
          <a:p>
            <a:pPr lvl="0"/>
            <a:r>
              <a:rPr lang="en-US" dirty="0"/>
              <a:t>Optional caption</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Page x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4" cy="237308"/>
          </a:xfrm>
          <a:prstGeom prst="rect">
            <a:avLst/>
          </a:prstGeom>
        </p:spPr>
        <p:txBody>
          <a:bodyPr rtlCol="0"/>
          <a:lstStyle>
            <a:lvl1pPr marL="0" indent="0">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7" y="368300"/>
            <a:ext cx="11160125"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3" name="Picture Placeholder 3">
            <a:extLst>
              <a:ext uri="{FF2B5EF4-FFF2-40B4-BE49-F238E27FC236}">
                <a16:creationId xmlns:a16="http://schemas.microsoft.com/office/drawing/2014/main" id="{A643DD79-296D-1D4D-9489-1DCF3F20B120}"/>
              </a:ext>
            </a:extLst>
          </p:cNvPr>
          <p:cNvSpPr>
            <a:spLocks noGrp="1"/>
          </p:cNvSpPr>
          <p:nvPr>
            <p:ph type="pic" sz="quarter" idx="18"/>
          </p:nvPr>
        </p:nvSpPr>
        <p:spPr>
          <a:xfrm>
            <a:off x="515937" y="1867800"/>
            <a:ext cx="5508626" cy="4221056"/>
          </a:xfrm>
          <a:prstGeom prst="rect">
            <a:avLst/>
          </a:prstGeom>
          <a:solidFill>
            <a:schemeClr val="bg2"/>
          </a:solidFill>
        </p:spPr>
        <p:txBody>
          <a:bodyPr/>
          <a:lstStyle/>
          <a:p>
            <a:r>
              <a:rPr lang="en-US"/>
              <a:t>Click icon to add picture</a:t>
            </a:r>
          </a:p>
        </p:txBody>
      </p:sp>
      <p:sp>
        <p:nvSpPr>
          <p:cNvPr id="11"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5508624"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6" name="Text Placeholder 4">
            <a:extLst>
              <a:ext uri="{FF2B5EF4-FFF2-40B4-BE49-F238E27FC236}">
                <a16:creationId xmlns:a16="http://schemas.microsoft.com/office/drawing/2014/main" id="{3A869F09-321E-4B40-A232-56F628E3867D}"/>
              </a:ext>
            </a:extLst>
          </p:cNvPr>
          <p:cNvSpPr>
            <a:spLocks noGrp="1"/>
          </p:cNvSpPr>
          <p:nvPr>
            <p:ph type="body" sz="quarter" idx="19" hasCustomPrompt="1"/>
          </p:nvPr>
        </p:nvSpPr>
        <p:spPr>
          <a:xfrm>
            <a:off x="515937" y="6093965"/>
            <a:ext cx="5508625" cy="214760"/>
          </a:xfrm>
          <a:prstGeom prst="rect">
            <a:avLst/>
          </a:prstGeom>
        </p:spPr>
        <p:txBody>
          <a:bodyPr/>
          <a:lstStyle>
            <a:lvl1pPr marL="0" indent="0">
              <a:lnSpc>
                <a:spcPct val="100000"/>
              </a:lnSpc>
              <a:buNone/>
              <a:defRPr sz="1200">
                <a:solidFill>
                  <a:schemeClr val="tx2"/>
                </a:solidFill>
              </a:defRPr>
            </a:lvl1pPr>
          </a:lstStyle>
          <a:p>
            <a:pPr lvl="0"/>
            <a:r>
              <a:rPr lang="en-US" dirty="0"/>
              <a:t>Optional caption</a:t>
            </a:r>
          </a:p>
        </p:txBody>
      </p:sp>
      <p:sp>
        <p:nvSpPr>
          <p:cNvPr id="18" name="Picture Placeholder 3">
            <a:extLst>
              <a:ext uri="{FF2B5EF4-FFF2-40B4-BE49-F238E27FC236}">
                <a16:creationId xmlns:a16="http://schemas.microsoft.com/office/drawing/2014/main" id="{A643DD79-296D-1D4D-9489-1DCF3F20B120}"/>
              </a:ext>
            </a:extLst>
          </p:cNvPr>
          <p:cNvSpPr>
            <a:spLocks noGrp="1"/>
          </p:cNvSpPr>
          <p:nvPr>
            <p:ph type="pic" sz="quarter" idx="20"/>
          </p:nvPr>
        </p:nvSpPr>
        <p:spPr>
          <a:xfrm>
            <a:off x="6167438" y="1867800"/>
            <a:ext cx="5500456" cy="4221056"/>
          </a:xfrm>
          <a:prstGeom prst="rect">
            <a:avLst/>
          </a:prstGeom>
          <a:solidFill>
            <a:schemeClr val="bg2"/>
          </a:solidFill>
        </p:spPr>
        <p:txBody>
          <a:bodyPr/>
          <a:lstStyle/>
          <a:p>
            <a:r>
              <a:rPr lang="en-US"/>
              <a:t>Click icon to add picture</a:t>
            </a:r>
          </a:p>
        </p:txBody>
      </p:sp>
      <p:sp>
        <p:nvSpPr>
          <p:cNvPr id="19" name="Text Placeholder 4">
            <a:extLst>
              <a:ext uri="{FF2B5EF4-FFF2-40B4-BE49-F238E27FC236}">
                <a16:creationId xmlns:a16="http://schemas.microsoft.com/office/drawing/2014/main" id="{3A869F09-321E-4B40-A232-56F628E3867D}"/>
              </a:ext>
            </a:extLst>
          </p:cNvPr>
          <p:cNvSpPr>
            <a:spLocks noGrp="1"/>
          </p:cNvSpPr>
          <p:nvPr>
            <p:ph type="body" sz="quarter" idx="21" hasCustomPrompt="1"/>
          </p:nvPr>
        </p:nvSpPr>
        <p:spPr>
          <a:xfrm>
            <a:off x="6159268" y="6093965"/>
            <a:ext cx="5508625" cy="214760"/>
          </a:xfrm>
          <a:prstGeom prst="rect">
            <a:avLst/>
          </a:prstGeom>
        </p:spPr>
        <p:txBody>
          <a:bodyPr/>
          <a:lstStyle>
            <a:lvl1pPr marL="0" indent="0">
              <a:lnSpc>
                <a:spcPct val="100000"/>
              </a:lnSpc>
              <a:buNone/>
              <a:defRPr sz="1200">
                <a:solidFill>
                  <a:schemeClr val="tx2"/>
                </a:solidFill>
              </a:defRPr>
            </a:lvl1pPr>
          </a:lstStyle>
          <a:p>
            <a:pPr lvl="0"/>
            <a:r>
              <a:rPr lang="en-US" dirty="0"/>
              <a:t>Optional caption</a:t>
            </a:r>
          </a:p>
        </p:txBody>
      </p:sp>
      <p:sp>
        <p:nvSpPr>
          <p:cNvPr id="20" name="Text Placeholder 2">
            <a:extLst>
              <a:ext uri="{FF2B5EF4-FFF2-40B4-BE49-F238E27FC236}">
                <a16:creationId xmlns:a16="http://schemas.microsoft.com/office/drawing/2014/main" id="{65975A82-7EB2-6E48-B38C-B5AEBD5D9A89}"/>
              </a:ext>
            </a:extLst>
          </p:cNvPr>
          <p:cNvSpPr>
            <a:spLocks noGrp="1" noChangeAspect="1"/>
          </p:cNvSpPr>
          <p:nvPr>
            <p:ph type="body" idx="22" hasCustomPrompt="1"/>
          </p:nvPr>
        </p:nvSpPr>
        <p:spPr>
          <a:xfrm>
            <a:off x="6167439" y="1432200"/>
            <a:ext cx="5508624"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graphic Cover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B553E1-B08F-F745-81D2-F26D7718E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153228"/>
            <a:ext cx="12192000" cy="5295900"/>
          </a:xfrm>
          <a:prstGeom prst="rect">
            <a:avLst/>
          </a:prstGeom>
        </p:spPr>
      </p:pic>
      <p:sp>
        <p:nvSpPr>
          <p:cNvPr id="14" name="Rectangle 13">
            <a:extLst>
              <a:ext uri="{FF2B5EF4-FFF2-40B4-BE49-F238E27FC236}">
                <a16:creationId xmlns:a16="http://schemas.microsoft.com/office/drawing/2014/main" id="{AA5AEFF1-2D6F-0C41-9FB6-0ADAB0AAF096}"/>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0" y="1"/>
            <a:ext cx="12192000" cy="6857999"/>
          </a:xfrm>
          <a:prstGeom prst="rect">
            <a:avLst/>
          </a:prstGeom>
          <a:noFill/>
          <a:ln w="190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CB330B11-E3CA-0542-B9E9-ACFD6565355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938" y="6062542"/>
            <a:ext cx="730800" cy="427158"/>
          </a:xfrm>
          <a:prstGeom prst="rect">
            <a:avLst/>
          </a:prstGeom>
        </p:spPr>
      </p:pic>
      <p:sp>
        <p:nvSpPr>
          <p:cNvPr id="6" name="Text Placeholder 7">
            <a:extLst>
              <a:ext uri="{FF2B5EF4-FFF2-40B4-BE49-F238E27FC236}">
                <a16:creationId xmlns:a16="http://schemas.microsoft.com/office/drawing/2014/main" id="{4F8E9120-7FF1-4744-A198-62808AD32342}"/>
              </a:ext>
            </a:extLst>
          </p:cNvPr>
          <p:cNvSpPr>
            <a:spLocks noGrp="1"/>
          </p:cNvSpPr>
          <p:nvPr>
            <p:ph type="body" sz="quarter" idx="13" hasCustomPrompt="1"/>
          </p:nvPr>
        </p:nvSpPr>
        <p:spPr>
          <a:xfrm>
            <a:off x="3179763" y="6046914"/>
            <a:ext cx="5832475" cy="525135"/>
          </a:xfrm>
          <a:prstGeom prst="rect">
            <a:avLst/>
          </a:prstGeom>
        </p:spPr>
        <p:txBody>
          <a:bodyPr wrap="square" lIns="0" tIns="0" rIns="0" bIns="0"/>
          <a:lstStyle>
            <a:lvl1pPr marL="0" indent="0" algn="ctr">
              <a:lnSpc>
                <a:spcPct val="100000"/>
              </a:lnSpc>
              <a:buNone/>
              <a:defRPr sz="2000" b="0" i="0">
                <a:solidFill>
                  <a:schemeClr val="bg1"/>
                </a:solidFill>
                <a:latin typeface="Arial" charset="0"/>
                <a:ea typeface="Arial" charset="0"/>
                <a:cs typeface="Arial" charset="0"/>
              </a:defRPr>
            </a:lvl1pPr>
          </a:lstStyle>
          <a:p>
            <a:pPr lvl="0"/>
            <a:r>
              <a:rPr lang="en-US"/>
              <a:t>Subhead Line 1</a:t>
            </a:r>
          </a:p>
        </p:txBody>
      </p:sp>
      <p:sp>
        <p:nvSpPr>
          <p:cNvPr id="2" name="Title 1"/>
          <p:cNvSpPr>
            <a:spLocks noGrp="1"/>
          </p:cNvSpPr>
          <p:nvPr>
            <p:ph type="title"/>
          </p:nvPr>
        </p:nvSpPr>
        <p:spPr>
          <a:xfrm>
            <a:off x="1552135" y="4903350"/>
            <a:ext cx="9087730" cy="1011487"/>
          </a:xfrm>
          <a:prstGeom prst="rect">
            <a:avLst/>
          </a:prstGeom>
        </p:spPr>
        <p:txBody>
          <a:bodyPr/>
          <a:lstStyle>
            <a:lvl1pPr algn="ctr">
              <a:defRPr sz="3600" b="0" i="0">
                <a:solidFill>
                  <a:schemeClr val="bg1"/>
                </a:solidFill>
                <a:latin typeface="Cambria" charset="0"/>
                <a:ea typeface="Cambria" charset="0"/>
                <a:cs typeface="Cambria" charset="0"/>
              </a:defRPr>
            </a:lvl1pPr>
          </a:lstStyle>
          <a:p>
            <a:r>
              <a:rPr lang="en-US"/>
              <a:t>Click to edit Master title style</a:t>
            </a:r>
          </a:p>
        </p:txBody>
      </p:sp>
      <p:sp>
        <p:nvSpPr>
          <p:cNvPr id="12"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14457" y="6222223"/>
            <a:ext cx="1727200" cy="260593"/>
          </a:xfrm>
          <a:prstGeom prst="rect">
            <a:avLst/>
          </a:prstGeom>
        </p:spPr>
        <p:txBody>
          <a:bodyPr vert="horz" lIns="0" tIns="0" rIns="0" bIns="0" rtlCol="0" anchor="ctr"/>
          <a:lstStyle>
            <a:lvl1pPr algn="r">
              <a:defRPr sz="1100" b="0" i="0">
                <a:solidFill>
                  <a:schemeClr val="bg1"/>
                </a:solidFill>
                <a:latin typeface="+mn-lt"/>
                <a:ea typeface="Cambria" charset="0"/>
                <a:cs typeface="Cambria" charset="0"/>
              </a:defRPr>
            </a:lvl1pPr>
          </a:lstStyle>
          <a:p>
            <a:r>
              <a:rPr lang="en-US"/>
              <a:t>Date</a:t>
            </a:r>
          </a:p>
        </p:txBody>
      </p:sp>
    </p:spTree>
    <p:extLst>
      <p:ext uri="{BB962C8B-B14F-4D97-AF65-F5344CB8AC3E}">
        <p14:creationId xmlns:p14="http://schemas.microsoft.com/office/powerpoint/2010/main" val="38315877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Page x 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4" cy="237308"/>
          </a:xfrm>
          <a:prstGeom prst="rect">
            <a:avLst/>
          </a:prstGeom>
        </p:spPr>
        <p:txBody>
          <a:bodyPr rtlCol="0"/>
          <a:lstStyle>
            <a:lvl1pPr marL="0" indent="0">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7" y="368300"/>
            <a:ext cx="11160125"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3" name="Picture Placeholder 3">
            <a:extLst>
              <a:ext uri="{FF2B5EF4-FFF2-40B4-BE49-F238E27FC236}">
                <a16:creationId xmlns:a16="http://schemas.microsoft.com/office/drawing/2014/main" id="{A643DD79-296D-1D4D-9489-1DCF3F20B120}"/>
              </a:ext>
            </a:extLst>
          </p:cNvPr>
          <p:cNvSpPr>
            <a:spLocks noGrp="1"/>
          </p:cNvSpPr>
          <p:nvPr>
            <p:ph type="pic" sz="quarter" idx="18"/>
          </p:nvPr>
        </p:nvSpPr>
        <p:spPr>
          <a:xfrm>
            <a:off x="515939" y="1867800"/>
            <a:ext cx="3614736" cy="4221056"/>
          </a:xfrm>
          <a:prstGeom prst="rect">
            <a:avLst/>
          </a:prstGeom>
          <a:solidFill>
            <a:schemeClr val="bg2"/>
          </a:solidFill>
        </p:spPr>
        <p:txBody>
          <a:bodyPr/>
          <a:lstStyle/>
          <a:p>
            <a:r>
              <a:rPr lang="en-US"/>
              <a:t>Click icon to add picture</a:t>
            </a:r>
          </a:p>
        </p:txBody>
      </p:sp>
      <p:sp>
        <p:nvSpPr>
          <p:cNvPr id="11"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3614737"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6" name="Text Placeholder 4">
            <a:extLst>
              <a:ext uri="{FF2B5EF4-FFF2-40B4-BE49-F238E27FC236}">
                <a16:creationId xmlns:a16="http://schemas.microsoft.com/office/drawing/2014/main" id="{3A869F09-321E-4B40-A232-56F628E3867D}"/>
              </a:ext>
            </a:extLst>
          </p:cNvPr>
          <p:cNvSpPr>
            <a:spLocks noGrp="1"/>
          </p:cNvSpPr>
          <p:nvPr>
            <p:ph type="body" sz="quarter" idx="19" hasCustomPrompt="1"/>
          </p:nvPr>
        </p:nvSpPr>
        <p:spPr>
          <a:xfrm>
            <a:off x="515937" y="6093965"/>
            <a:ext cx="3614737" cy="214760"/>
          </a:xfrm>
          <a:prstGeom prst="rect">
            <a:avLst/>
          </a:prstGeom>
        </p:spPr>
        <p:txBody>
          <a:bodyPr/>
          <a:lstStyle>
            <a:lvl1pPr marL="0" indent="0">
              <a:lnSpc>
                <a:spcPct val="100000"/>
              </a:lnSpc>
              <a:buNone/>
              <a:defRPr sz="1200">
                <a:solidFill>
                  <a:schemeClr val="tx2"/>
                </a:solidFill>
              </a:defRPr>
            </a:lvl1pPr>
          </a:lstStyle>
          <a:p>
            <a:pPr lvl="0"/>
            <a:r>
              <a:rPr lang="en-US" dirty="0"/>
              <a:t>Optional caption</a:t>
            </a:r>
          </a:p>
        </p:txBody>
      </p:sp>
      <p:sp>
        <p:nvSpPr>
          <p:cNvPr id="24" name="Picture Placeholder 3">
            <a:extLst>
              <a:ext uri="{FF2B5EF4-FFF2-40B4-BE49-F238E27FC236}">
                <a16:creationId xmlns:a16="http://schemas.microsoft.com/office/drawing/2014/main" id="{A643DD79-296D-1D4D-9489-1DCF3F20B120}"/>
              </a:ext>
            </a:extLst>
          </p:cNvPr>
          <p:cNvSpPr>
            <a:spLocks noGrp="1"/>
          </p:cNvSpPr>
          <p:nvPr>
            <p:ph type="pic" sz="quarter" idx="20"/>
          </p:nvPr>
        </p:nvSpPr>
        <p:spPr>
          <a:xfrm>
            <a:off x="4286249" y="1867800"/>
            <a:ext cx="3616325" cy="4221056"/>
          </a:xfrm>
          <a:prstGeom prst="rect">
            <a:avLst/>
          </a:prstGeom>
          <a:solidFill>
            <a:schemeClr val="bg2"/>
          </a:solidFill>
        </p:spPr>
        <p:txBody>
          <a:bodyPr/>
          <a:lstStyle/>
          <a:p>
            <a:r>
              <a:rPr lang="en-US"/>
              <a:t>Click icon to add picture</a:t>
            </a:r>
          </a:p>
        </p:txBody>
      </p:sp>
      <p:sp>
        <p:nvSpPr>
          <p:cNvPr id="25" name="Text Placeholder 2">
            <a:extLst>
              <a:ext uri="{FF2B5EF4-FFF2-40B4-BE49-F238E27FC236}">
                <a16:creationId xmlns:a16="http://schemas.microsoft.com/office/drawing/2014/main" id="{65975A82-7EB2-6E48-B38C-B5AEBD5D9A89}"/>
              </a:ext>
            </a:extLst>
          </p:cNvPr>
          <p:cNvSpPr>
            <a:spLocks noGrp="1" noChangeAspect="1"/>
          </p:cNvSpPr>
          <p:nvPr>
            <p:ph type="body" idx="21" hasCustomPrompt="1"/>
          </p:nvPr>
        </p:nvSpPr>
        <p:spPr>
          <a:xfrm>
            <a:off x="4286249" y="1432200"/>
            <a:ext cx="3614737"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26" name="Text Placeholder 4">
            <a:extLst>
              <a:ext uri="{FF2B5EF4-FFF2-40B4-BE49-F238E27FC236}">
                <a16:creationId xmlns:a16="http://schemas.microsoft.com/office/drawing/2014/main" id="{3A869F09-321E-4B40-A232-56F628E3867D}"/>
              </a:ext>
            </a:extLst>
          </p:cNvPr>
          <p:cNvSpPr>
            <a:spLocks noGrp="1"/>
          </p:cNvSpPr>
          <p:nvPr>
            <p:ph type="body" sz="quarter" idx="22" hasCustomPrompt="1"/>
          </p:nvPr>
        </p:nvSpPr>
        <p:spPr>
          <a:xfrm>
            <a:off x="4286248" y="6093965"/>
            <a:ext cx="3614737" cy="214760"/>
          </a:xfrm>
          <a:prstGeom prst="rect">
            <a:avLst/>
          </a:prstGeom>
        </p:spPr>
        <p:txBody>
          <a:bodyPr/>
          <a:lstStyle>
            <a:lvl1pPr marL="0" indent="0">
              <a:lnSpc>
                <a:spcPct val="100000"/>
              </a:lnSpc>
              <a:buNone/>
              <a:defRPr sz="1200">
                <a:solidFill>
                  <a:schemeClr val="tx2"/>
                </a:solidFill>
              </a:defRPr>
            </a:lvl1pPr>
          </a:lstStyle>
          <a:p>
            <a:pPr lvl="0"/>
            <a:r>
              <a:rPr lang="en-US" dirty="0"/>
              <a:t>Optional caption</a:t>
            </a:r>
          </a:p>
        </p:txBody>
      </p:sp>
      <p:sp>
        <p:nvSpPr>
          <p:cNvPr id="27" name="Picture Placeholder 3">
            <a:extLst>
              <a:ext uri="{FF2B5EF4-FFF2-40B4-BE49-F238E27FC236}">
                <a16:creationId xmlns:a16="http://schemas.microsoft.com/office/drawing/2014/main" id="{A643DD79-296D-1D4D-9489-1DCF3F20B120}"/>
              </a:ext>
            </a:extLst>
          </p:cNvPr>
          <p:cNvSpPr>
            <a:spLocks noGrp="1"/>
          </p:cNvSpPr>
          <p:nvPr>
            <p:ph type="pic" sz="quarter" idx="23"/>
          </p:nvPr>
        </p:nvSpPr>
        <p:spPr>
          <a:xfrm>
            <a:off x="8061327" y="1867800"/>
            <a:ext cx="3614736" cy="4221056"/>
          </a:xfrm>
          <a:prstGeom prst="rect">
            <a:avLst/>
          </a:prstGeom>
          <a:solidFill>
            <a:schemeClr val="bg2"/>
          </a:solidFill>
        </p:spPr>
        <p:txBody>
          <a:bodyPr/>
          <a:lstStyle/>
          <a:p>
            <a:r>
              <a:rPr lang="en-US"/>
              <a:t>Click icon to add picture</a:t>
            </a:r>
          </a:p>
        </p:txBody>
      </p:sp>
      <p:sp>
        <p:nvSpPr>
          <p:cNvPr id="28" name="Text Placeholder 2">
            <a:extLst>
              <a:ext uri="{FF2B5EF4-FFF2-40B4-BE49-F238E27FC236}">
                <a16:creationId xmlns:a16="http://schemas.microsoft.com/office/drawing/2014/main" id="{65975A82-7EB2-6E48-B38C-B5AEBD5D9A89}"/>
              </a:ext>
            </a:extLst>
          </p:cNvPr>
          <p:cNvSpPr>
            <a:spLocks noGrp="1" noChangeAspect="1"/>
          </p:cNvSpPr>
          <p:nvPr>
            <p:ph type="body" idx="24" hasCustomPrompt="1"/>
          </p:nvPr>
        </p:nvSpPr>
        <p:spPr>
          <a:xfrm>
            <a:off x="8061326" y="1432200"/>
            <a:ext cx="3614737"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29" name="Text Placeholder 4">
            <a:extLst>
              <a:ext uri="{FF2B5EF4-FFF2-40B4-BE49-F238E27FC236}">
                <a16:creationId xmlns:a16="http://schemas.microsoft.com/office/drawing/2014/main" id="{3A869F09-321E-4B40-A232-56F628E3867D}"/>
              </a:ext>
            </a:extLst>
          </p:cNvPr>
          <p:cNvSpPr>
            <a:spLocks noGrp="1"/>
          </p:cNvSpPr>
          <p:nvPr>
            <p:ph type="body" sz="quarter" idx="25" hasCustomPrompt="1"/>
          </p:nvPr>
        </p:nvSpPr>
        <p:spPr>
          <a:xfrm>
            <a:off x="8061325" y="6093965"/>
            <a:ext cx="3614737" cy="214760"/>
          </a:xfrm>
          <a:prstGeom prst="rect">
            <a:avLst/>
          </a:prstGeom>
        </p:spPr>
        <p:txBody>
          <a:bodyPr/>
          <a:lstStyle>
            <a:lvl1pPr marL="0" indent="0">
              <a:lnSpc>
                <a:spcPct val="100000"/>
              </a:lnSpc>
              <a:buNone/>
              <a:defRPr sz="1200">
                <a:solidFill>
                  <a:schemeClr val="tx2"/>
                </a:solidFill>
              </a:defRPr>
            </a:lvl1pPr>
          </a:lstStyle>
          <a:p>
            <a:pPr lvl="0"/>
            <a:r>
              <a:rPr lang="en-US" dirty="0"/>
              <a:t>Optional caption</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mage Page x 3">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82427"/>
            <a:ext cx="1727201" cy="274964"/>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4" cy="237308"/>
          </a:xfrm>
          <a:prstGeom prst="rect">
            <a:avLst/>
          </a:prstGeom>
        </p:spPr>
        <p:txBody>
          <a:bodyPr rtlCol="0"/>
          <a:lstStyle>
            <a:lvl1pPr marL="0" indent="0">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9" y="368300"/>
            <a:ext cx="11160123"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1"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637040"/>
            <a:ext cx="1727199" cy="435600"/>
          </a:xfrm>
          <a:prstGeom prst="rect">
            <a:avLst/>
          </a:prstGeom>
        </p:spPr>
        <p:txBody>
          <a:bodyPr anchor="t" anchorCtr="0">
            <a:normAutofit/>
          </a:bodyPr>
          <a:lstStyle>
            <a:lvl1pPr marL="0" indent="0">
              <a:lnSpc>
                <a:spcPct val="100000"/>
              </a:lnSpc>
              <a:buNone/>
              <a:defRPr sz="16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24" name="Picture Placeholder 5">
            <a:extLst>
              <a:ext uri="{FF2B5EF4-FFF2-40B4-BE49-F238E27FC236}">
                <a16:creationId xmlns:a16="http://schemas.microsoft.com/office/drawing/2014/main" id="{EBF22DA3-A49C-6440-A6F8-4BDC8A933B20}"/>
              </a:ext>
            </a:extLst>
          </p:cNvPr>
          <p:cNvSpPr>
            <a:spLocks noGrp="1"/>
          </p:cNvSpPr>
          <p:nvPr>
            <p:ph type="pic" sz="quarter" idx="13"/>
          </p:nvPr>
        </p:nvSpPr>
        <p:spPr>
          <a:xfrm>
            <a:off x="515939" y="2072640"/>
            <a:ext cx="1727538" cy="1991537"/>
          </a:xfrm>
          <a:prstGeom prst="rect">
            <a:avLst/>
          </a:prstGeom>
          <a:solidFill>
            <a:schemeClr val="bg2"/>
          </a:solidFill>
        </p:spPr>
        <p:txBody>
          <a:bodyPr/>
          <a:lstStyle/>
          <a:p>
            <a:r>
              <a:rPr lang="en-US"/>
              <a:t>Click icon to add picture</a:t>
            </a:r>
          </a:p>
        </p:txBody>
      </p:sp>
      <p:sp>
        <p:nvSpPr>
          <p:cNvPr id="26" name="Text Placeholder 4">
            <a:extLst>
              <a:ext uri="{FF2B5EF4-FFF2-40B4-BE49-F238E27FC236}">
                <a16:creationId xmlns:a16="http://schemas.microsoft.com/office/drawing/2014/main" id="{3A869F09-321E-4B40-A232-56F628E3867D}"/>
              </a:ext>
            </a:extLst>
          </p:cNvPr>
          <p:cNvSpPr>
            <a:spLocks noGrp="1"/>
          </p:cNvSpPr>
          <p:nvPr>
            <p:ph type="body" sz="quarter" idx="26" hasCustomPrompt="1"/>
          </p:nvPr>
        </p:nvSpPr>
        <p:spPr>
          <a:xfrm>
            <a:off x="515938" y="4105283"/>
            <a:ext cx="1727200" cy="222250"/>
          </a:xfrm>
          <a:prstGeom prst="rect">
            <a:avLst/>
          </a:prstGeom>
        </p:spPr>
        <p:txBody>
          <a:bodyPr anchor="t" anchorCtr="0"/>
          <a:lstStyle>
            <a:lvl1pPr marL="0" indent="0">
              <a:lnSpc>
                <a:spcPct val="100000"/>
              </a:lnSpc>
              <a:buNone/>
              <a:defRPr sz="1200" baseline="0">
                <a:solidFill>
                  <a:schemeClr val="tx2"/>
                </a:solidFill>
              </a:defRPr>
            </a:lvl1pPr>
          </a:lstStyle>
          <a:p>
            <a:pPr lvl="0"/>
            <a:r>
              <a:rPr lang="en-US"/>
              <a:t>Optional caption</a:t>
            </a:r>
          </a:p>
        </p:txBody>
      </p:sp>
      <p:sp>
        <p:nvSpPr>
          <p:cNvPr id="27" name="Text Placeholder 2">
            <a:extLst>
              <a:ext uri="{FF2B5EF4-FFF2-40B4-BE49-F238E27FC236}">
                <a16:creationId xmlns:a16="http://schemas.microsoft.com/office/drawing/2014/main" id="{65975A82-7EB2-6E48-B38C-B5AEBD5D9A89}"/>
              </a:ext>
            </a:extLst>
          </p:cNvPr>
          <p:cNvSpPr>
            <a:spLocks noGrp="1" noChangeAspect="1"/>
          </p:cNvSpPr>
          <p:nvPr>
            <p:ph type="body" idx="27" hasCustomPrompt="1"/>
          </p:nvPr>
        </p:nvSpPr>
        <p:spPr>
          <a:xfrm>
            <a:off x="2403136" y="1637040"/>
            <a:ext cx="1727199" cy="435600"/>
          </a:xfrm>
          <a:prstGeom prst="rect">
            <a:avLst/>
          </a:prstGeom>
        </p:spPr>
        <p:txBody>
          <a:bodyPr anchor="t" anchorCtr="0">
            <a:normAutofit/>
          </a:bodyPr>
          <a:lstStyle>
            <a:lvl1pPr marL="0" indent="0">
              <a:lnSpc>
                <a:spcPct val="100000"/>
              </a:lnSpc>
              <a:buNone/>
              <a:defRPr sz="16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28" name="Picture Placeholder 5">
            <a:extLst>
              <a:ext uri="{FF2B5EF4-FFF2-40B4-BE49-F238E27FC236}">
                <a16:creationId xmlns:a16="http://schemas.microsoft.com/office/drawing/2014/main" id="{EBF22DA3-A49C-6440-A6F8-4BDC8A933B20}"/>
              </a:ext>
            </a:extLst>
          </p:cNvPr>
          <p:cNvSpPr>
            <a:spLocks noGrp="1"/>
          </p:cNvSpPr>
          <p:nvPr>
            <p:ph type="pic" sz="quarter" idx="28"/>
          </p:nvPr>
        </p:nvSpPr>
        <p:spPr>
          <a:xfrm>
            <a:off x="2403137" y="2072640"/>
            <a:ext cx="1727538" cy="1991537"/>
          </a:xfrm>
          <a:prstGeom prst="rect">
            <a:avLst/>
          </a:prstGeom>
          <a:solidFill>
            <a:schemeClr val="bg2"/>
          </a:solidFill>
        </p:spPr>
        <p:txBody>
          <a:bodyPr/>
          <a:lstStyle/>
          <a:p>
            <a:r>
              <a:rPr lang="en-US"/>
              <a:t>Click icon to add picture</a:t>
            </a:r>
          </a:p>
        </p:txBody>
      </p:sp>
      <p:sp>
        <p:nvSpPr>
          <p:cNvPr id="29" name="Text Placeholder 4">
            <a:extLst>
              <a:ext uri="{FF2B5EF4-FFF2-40B4-BE49-F238E27FC236}">
                <a16:creationId xmlns:a16="http://schemas.microsoft.com/office/drawing/2014/main" id="{3A869F09-321E-4B40-A232-56F628E3867D}"/>
              </a:ext>
            </a:extLst>
          </p:cNvPr>
          <p:cNvSpPr>
            <a:spLocks noGrp="1"/>
          </p:cNvSpPr>
          <p:nvPr>
            <p:ph type="body" sz="quarter" idx="29" hasCustomPrompt="1"/>
          </p:nvPr>
        </p:nvSpPr>
        <p:spPr>
          <a:xfrm>
            <a:off x="2403136" y="4105283"/>
            <a:ext cx="1727200" cy="222250"/>
          </a:xfrm>
          <a:prstGeom prst="rect">
            <a:avLst/>
          </a:prstGeom>
        </p:spPr>
        <p:txBody>
          <a:bodyPr anchor="t" anchorCtr="0"/>
          <a:lstStyle>
            <a:lvl1pPr marL="0" indent="0">
              <a:lnSpc>
                <a:spcPct val="100000"/>
              </a:lnSpc>
              <a:buNone/>
              <a:defRPr sz="1200" baseline="0">
                <a:solidFill>
                  <a:schemeClr val="tx2"/>
                </a:solidFill>
              </a:defRPr>
            </a:lvl1pPr>
          </a:lstStyle>
          <a:p>
            <a:pPr lvl="0"/>
            <a:r>
              <a:rPr lang="en-US"/>
              <a:t>Optional caption</a:t>
            </a:r>
          </a:p>
        </p:txBody>
      </p:sp>
      <p:sp>
        <p:nvSpPr>
          <p:cNvPr id="30" name="Text Placeholder 2">
            <a:extLst>
              <a:ext uri="{FF2B5EF4-FFF2-40B4-BE49-F238E27FC236}">
                <a16:creationId xmlns:a16="http://schemas.microsoft.com/office/drawing/2014/main" id="{65975A82-7EB2-6E48-B38C-B5AEBD5D9A89}"/>
              </a:ext>
            </a:extLst>
          </p:cNvPr>
          <p:cNvSpPr>
            <a:spLocks noGrp="1" noChangeAspect="1"/>
          </p:cNvSpPr>
          <p:nvPr>
            <p:ph type="body" idx="30" hasCustomPrompt="1"/>
          </p:nvPr>
        </p:nvSpPr>
        <p:spPr>
          <a:xfrm>
            <a:off x="4286250" y="1637040"/>
            <a:ext cx="1727199" cy="435600"/>
          </a:xfrm>
          <a:prstGeom prst="rect">
            <a:avLst/>
          </a:prstGeom>
        </p:spPr>
        <p:txBody>
          <a:bodyPr anchor="t" anchorCtr="0">
            <a:normAutofit/>
          </a:bodyPr>
          <a:lstStyle>
            <a:lvl1pPr marL="0" indent="0">
              <a:lnSpc>
                <a:spcPct val="100000"/>
              </a:lnSpc>
              <a:buNone/>
              <a:defRPr sz="16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31" name="Picture Placeholder 5">
            <a:extLst>
              <a:ext uri="{FF2B5EF4-FFF2-40B4-BE49-F238E27FC236}">
                <a16:creationId xmlns:a16="http://schemas.microsoft.com/office/drawing/2014/main" id="{EBF22DA3-A49C-6440-A6F8-4BDC8A933B20}"/>
              </a:ext>
            </a:extLst>
          </p:cNvPr>
          <p:cNvSpPr>
            <a:spLocks noGrp="1"/>
          </p:cNvSpPr>
          <p:nvPr>
            <p:ph type="pic" sz="quarter" idx="31"/>
          </p:nvPr>
        </p:nvSpPr>
        <p:spPr>
          <a:xfrm>
            <a:off x="4286251" y="2072640"/>
            <a:ext cx="1727538" cy="1991537"/>
          </a:xfrm>
          <a:prstGeom prst="rect">
            <a:avLst/>
          </a:prstGeom>
          <a:solidFill>
            <a:schemeClr val="bg2"/>
          </a:solidFill>
        </p:spPr>
        <p:txBody>
          <a:bodyPr/>
          <a:lstStyle/>
          <a:p>
            <a:r>
              <a:rPr lang="en-US"/>
              <a:t>Click icon to add picture</a:t>
            </a:r>
          </a:p>
        </p:txBody>
      </p:sp>
      <p:sp>
        <p:nvSpPr>
          <p:cNvPr id="32" name="Text Placeholder 4">
            <a:extLst>
              <a:ext uri="{FF2B5EF4-FFF2-40B4-BE49-F238E27FC236}">
                <a16:creationId xmlns:a16="http://schemas.microsoft.com/office/drawing/2014/main" id="{3A869F09-321E-4B40-A232-56F628E3867D}"/>
              </a:ext>
            </a:extLst>
          </p:cNvPr>
          <p:cNvSpPr>
            <a:spLocks noGrp="1"/>
          </p:cNvSpPr>
          <p:nvPr>
            <p:ph type="body" sz="quarter" idx="32" hasCustomPrompt="1"/>
          </p:nvPr>
        </p:nvSpPr>
        <p:spPr>
          <a:xfrm>
            <a:off x="4286250" y="4105283"/>
            <a:ext cx="1727200" cy="222250"/>
          </a:xfrm>
          <a:prstGeom prst="rect">
            <a:avLst/>
          </a:prstGeom>
        </p:spPr>
        <p:txBody>
          <a:bodyPr anchor="t" anchorCtr="0"/>
          <a:lstStyle>
            <a:lvl1pPr marL="0" indent="0">
              <a:lnSpc>
                <a:spcPct val="100000"/>
              </a:lnSpc>
              <a:buNone/>
              <a:defRPr sz="1200" baseline="0">
                <a:solidFill>
                  <a:schemeClr val="tx2"/>
                </a:solidFill>
              </a:defRPr>
            </a:lvl1pPr>
          </a:lstStyle>
          <a:p>
            <a:pPr lvl="0"/>
            <a:r>
              <a:rPr lang="en-US"/>
              <a:t>Optional caption</a:t>
            </a:r>
          </a:p>
        </p:txBody>
      </p:sp>
      <p:sp>
        <p:nvSpPr>
          <p:cNvPr id="33" name="Text Placeholder 2">
            <a:extLst>
              <a:ext uri="{FF2B5EF4-FFF2-40B4-BE49-F238E27FC236}">
                <a16:creationId xmlns:a16="http://schemas.microsoft.com/office/drawing/2014/main" id="{65975A82-7EB2-6E48-B38C-B5AEBD5D9A89}"/>
              </a:ext>
            </a:extLst>
          </p:cNvPr>
          <p:cNvSpPr>
            <a:spLocks noGrp="1" noChangeAspect="1"/>
          </p:cNvSpPr>
          <p:nvPr>
            <p:ph type="body" idx="33" hasCustomPrompt="1"/>
          </p:nvPr>
        </p:nvSpPr>
        <p:spPr>
          <a:xfrm>
            <a:off x="6175036" y="1637040"/>
            <a:ext cx="1727199" cy="435600"/>
          </a:xfrm>
          <a:prstGeom prst="rect">
            <a:avLst/>
          </a:prstGeom>
        </p:spPr>
        <p:txBody>
          <a:bodyPr anchor="t" anchorCtr="0">
            <a:normAutofit/>
          </a:bodyPr>
          <a:lstStyle>
            <a:lvl1pPr marL="0" indent="0">
              <a:lnSpc>
                <a:spcPct val="100000"/>
              </a:lnSpc>
              <a:buNone/>
              <a:defRPr sz="16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34" name="Picture Placeholder 5">
            <a:extLst>
              <a:ext uri="{FF2B5EF4-FFF2-40B4-BE49-F238E27FC236}">
                <a16:creationId xmlns:a16="http://schemas.microsoft.com/office/drawing/2014/main" id="{EBF22DA3-A49C-6440-A6F8-4BDC8A933B20}"/>
              </a:ext>
            </a:extLst>
          </p:cNvPr>
          <p:cNvSpPr>
            <a:spLocks noGrp="1"/>
          </p:cNvSpPr>
          <p:nvPr>
            <p:ph type="pic" sz="quarter" idx="34"/>
          </p:nvPr>
        </p:nvSpPr>
        <p:spPr>
          <a:xfrm>
            <a:off x="6175037" y="2072640"/>
            <a:ext cx="1727538" cy="1991537"/>
          </a:xfrm>
          <a:prstGeom prst="rect">
            <a:avLst/>
          </a:prstGeom>
          <a:solidFill>
            <a:schemeClr val="bg2"/>
          </a:solidFill>
        </p:spPr>
        <p:txBody>
          <a:bodyPr/>
          <a:lstStyle/>
          <a:p>
            <a:r>
              <a:rPr lang="en-US"/>
              <a:t>Click icon to add picture</a:t>
            </a:r>
          </a:p>
        </p:txBody>
      </p:sp>
      <p:sp>
        <p:nvSpPr>
          <p:cNvPr id="35" name="Text Placeholder 4">
            <a:extLst>
              <a:ext uri="{FF2B5EF4-FFF2-40B4-BE49-F238E27FC236}">
                <a16:creationId xmlns:a16="http://schemas.microsoft.com/office/drawing/2014/main" id="{3A869F09-321E-4B40-A232-56F628E3867D}"/>
              </a:ext>
            </a:extLst>
          </p:cNvPr>
          <p:cNvSpPr>
            <a:spLocks noGrp="1"/>
          </p:cNvSpPr>
          <p:nvPr>
            <p:ph type="body" sz="quarter" idx="35" hasCustomPrompt="1"/>
          </p:nvPr>
        </p:nvSpPr>
        <p:spPr>
          <a:xfrm>
            <a:off x="6175036" y="4105283"/>
            <a:ext cx="1727200" cy="222250"/>
          </a:xfrm>
          <a:prstGeom prst="rect">
            <a:avLst/>
          </a:prstGeom>
        </p:spPr>
        <p:txBody>
          <a:bodyPr anchor="t" anchorCtr="0"/>
          <a:lstStyle>
            <a:lvl1pPr marL="0" indent="0">
              <a:lnSpc>
                <a:spcPct val="100000"/>
              </a:lnSpc>
              <a:buNone/>
              <a:defRPr sz="1200" baseline="0">
                <a:solidFill>
                  <a:schemeClr val="tx2"/>
                </a:solidFill>
              </a:defRPr>
            </a:lvl1pPr>
          </a:lstStyle>
          <a:p>
            <a:pPr lvl="0"/>
            <a:r>
              <a:rPr lang="en-US"/>
              <a:t>Optional caption</a:t>
            </a:r>
          </a:p>
        </p:txBody>
      </p:sp>
      <p:sp>
        <p:nvSpPr>
          <p:cNvPr id="36" name="Text Placeholder 2">
            <a:extLst>
              <a:ext uri="{FF2B5EF4-FFF2-40B4-BE49-F238E27FC236}">
                <a16:creationId xmlns:a16="http://schemas.microsoft.com/office/drawing/2014/main" id="{65975A82-7EB2-6E48-B38C-B5AEBD5D9A89}"/>
              </a:ext>
            </a:extLst>
          </p:cNvPr>
          <p:cNvSpPr>
            <a:spLocks noGrp="1" noChangeAspect="1"/>
          </p:cNvSpPr>
          <p:nvPr>
            <p:ph type="body" idx="36" hasCustomPrompt="1"/>
          </p:nvPr>
        </p:nvSpPr>
        <p:spPr>
          <a:xfrm>
            <a:off x="8058149" y="1637040"/>
            <a:ext cx="1727199" cy="435600"/>
          </a:xfrm>
          <a:prstGeom prst="rect">
            <a:avLst/>
          </a:prstGeom>
        </p:spPr>
        <p:txBody>
          <a:bodyPr anchor="t" anchorCtr="0">
            <a:normAutofit/>
          </a:bodyPr>
          <a:lstStyle>
            <a:lvl1pPr marL="0" indent="0">
              <a:lnSpc>
                <a:spcPct val="100000"/>
              </a:lnSpc>
              <a:buNone/>
              <a:defRPr sz="16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37" name="Picture Placeholder 5">
            <a:extLst>
              <a:ext uri="{FF2B5EF4-FFF2-40B4-BE49-F238E27FC236}">
                <a16:creationId xmlns:a16="http://schemas.microsoft.com/office/drawing/2014/main" id="{EBF22DA3-A49C-6440-A6F8-4BDC8A933B20}"/>
              </a:ext>
            </a:extLst>
          </p:cNvPr>
          <p:cNvSpPr>
            <a:spLocks noGrp="1"/>
          </p:cNvSpPr>
          <p:nvPr>
            <p:ph type="pic" sz="quarter" idx="37"/>
          </p:nvPr>
        </p:nvSpPr>
        <p:spPr>
          <a:xfrm>
            <a:off x="8058150" y="2072640"/>
            <a:ext cx="1727538" cy="1991537"/>
          </a:xfrm>
          <a:prstGeom prst="rect">
            <a:avLst/>
          </a:prstGeom>
          <a:solidFill>
            <a:schemeClr val="bg2"/>
          </a:solidFill>
        </p:spPr>
        <p:txBody>
          <a:bodyPr/>
          <a:lstStyle/>
          <a:p>
            <a:r>
              <a:rPr lang="en-US"/>
              <a:t>Click icon to add picture</a:t>
            </a:r>
          </a:p>
        </p:txBody>
      </p:sp>
      <p:sp>
        <p:nvSpPr>
          <p:cNvPr id="38" name="Text Placeholder 4">
            <a:extLst>
              <a:ext uri="{FF2B5EF4-FFF2-40B4-BE49-F238E27FC236}">
                <a16:creationId xmlns:a16="http://schemas.microsoft.com/office/drawing/2014/main" id="{3A869F09-321E-4B40-A232-56F628E3867D}"/>
              </a:ext>
            </a:extLst>
          </p:cNvPr>
          <p:cNvSpPr>
            <a:spLocks noGrp="1"/>
          </p:cNvSpPr>
          <p:nvPr>
            <p:ph type="body" sz="quarter" idx="38" hasCustomPrompt="1"/>
          </p:nvPr>
        </p:nvSpPr>
        <p:spPr>
          <a:xfrm>
            <a:off x="8058149" y="4105283"/>
            <a:ext cx="1727200" cy="222250"/>
          </a:xfrm>
          <a:prstGeom prst="rect">
            <a:avLst/>
          </a:prstGeom>
        </p:spPr>
        <p:txBody>
          <a:bodyPr anchor="t" anchorCtr="0"/>
          <a:lstStyle>
            <a:lvl1pPr marL="0" indent="0">
              <a:lnSpc>
                <a:spcPct val="100000"/>
              </a:lnSpc>
              <a:buNone/>
              <a:defRPr sz="1200" baseline="0">
                <a:solidFill>
                  <a:schemeClr val="tx2"/>
                </a:solidFill>
              </a:defRPr>
            </a:lvl1pPr>
          </a:lstStyle>
          <a:p>
            <a:pPr lvl="0"/>
            <a:r>
              <a:rPr lang="en-US"/>
              <a:t>Optional caption</a:t>
            </a:r>
          </a:p>
        </p:txBody>
      </p:sp>
      <p:sp>
        <p:nvSpPr>
          <p:cNvPr id="39" name="Text Placeholder 2">
            <a:extLst>
              <a:ext uri="{FF2B5EF4-FFF2-40B4-BE49-F238E27FC236}">
                <a16:creationId xmlns:a16="http://schemas.microsoft.com/office/drawing/2014/main" id="{65975A82-7EB2-6E48-B38C-B5AEBD5D9A89}"/>
              </a:ext>
            </a:extLst>
          </p:cNvPr>
          <p:cNvSpPr>
            <a:spLocks noGrp="1" noChangeAspect="1"/>
          </p:cNvSpPr>
          <p:nvPr>
            <p:ph type="body" idx="39" hasCustomPrompt="1"/>
          </p:nvPr>
        </p:nvSpPr>
        <p:spPr>
          <a:xfrm>
            <a:off x="9948863" y="1637040"/>
            <a:ext cx="1727199" cy="435600"/>
          </a:xfrm>
          <a:prstGeom prst="rect">
            <a:avLst/>
          </a:prstGeom>
        </p:spPr>
        <p:txBody>
          <a:bodyPr anchor="t" anchorCtr="0">
            <a:normAutofit/>
          </a:bodyPr>
          <a:lstStyle>
            <a:lvl1pPr marL="0" indent="0">
              <a:lnSpc>
                <a:spcPct val="100000"/>
              </a:lnSpc>
              <a:buNone/>
              <a:defRPr sz="16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40" name="Picture Placeholder 5">
            <a:extLst>
              <a:ext uri="{FF2B5EF4-FFF2-40B4-BE49-F238E27FC236}">
                <a16:creationId xmlns:a16="http://schemas.microsoft.com/office/drawing/2014/main" id="{EBF22DA3-A49C-6440-A6F8-4BDC8A933B20}"/>
              </a:ext>
            </a:extLst>
          </p:cNvPr>
          <p:cNvSpPr>
            <a:spLocks noGrp="1"/>
          </p:cNvSpPr>
          <p:nvPr>
            <p:ph type="pic" sz="quarter" idx="40"/>
          </p:nvPr>
        </p:nvSpPr>
        <p:spPr>
          <a:xfrm>
            <a:off x="9948864" y="2072640"/>
            <a:ext cx="1727538" cy="1991537"/>
          </a:xfrm>
          <a:prstGeom prst="rect">
            <a:avLst/>
          </a:prstGeom>
          <a:solidFill>
            <a:schemeClr val="bg2"/>
          </a:solidFill>
        </p:spPr>
        <p:txBody>
          <a:bodyPr/>
          <a:lstStyle/>
          <a:p>
            <a:r>
              <a:rPr lang="en-US"/>
              <a:t>Click icon to add picture</a:t>
            </a:r>
          </a:p>
        </p:txBody>
      </p:sp>
      <p:sp>
        <p:nvSpPr>
          <p:cNvPr id="41" name="Text Placeholder 4">
            <a:extLst>
              <a:ext uri="{FF2B5EF4-FFF2-40B4-BE49-F238E27FC236}">
                <a16:creationId xmlns:a16="http://schemas.microsoft.com/office/drawing/2014/main" id="{3A869F09-321E-4B40-A232-56F628E3867D}"/>
              </a:ext>
            </a:extLst>
          </p:cNvPr>
          <p:cNvSpPr>
            <a:spLocks noGrp="1"/>
          </p:cNvSpPr>
          <p:nvPr>
            <p:ph type="body" sz="quarter" idx="41" hasCustomPrompt="1"/>
          </p:nvPr>
        </p:nvSpPr>
        <p:spPr>
          <a:xfrm>
            <a:off x="9948863" y="4105283"/>
            <a:ext cx="1727200" cy="222250"/>
          </a:xfrm>
          <a:prstGeom prst="rect">
            <a:avLst/>
          </a:prstGeom>
        </p:spPr>
        <p:txBody>
          <a:bodyPr anchor="t" anchorCtr="0"/>
          <a:lstStyle>
            <a:lvl1pPr marL="0" indent="0">
              <a:lnSpc>
                <a:spcPct val="100000"/>
              </a:lnSpc>
              <a:buNone/>
              <a:defRPr sz="1200" baseline="0">
                <a:solidFill>
                  <a:schemeClr val="tx2"/>
                </a:solidFill>
              </a:defRPr>
            </a:lvl1pPr>
          </a:lstStyle>
          <a:p>
            <a:pPr lvl="0"/>
            <a:r>
              <a:rPr lang="en-US"/>
              <a:t>Optional caption</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ilm Inser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C03EBA-2624-CC44-BE10-049F6DF7D16D}"/>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93B488E4-5E8A-7B4B-82AE-D89AE18204CB}"/>
              </a:ext>
            </a:extLst>
          </p:cNvPr>
          <p:cNvSpPr>
            <a:spLocks noGrp="1"/>
          </p:cNvSpPr>
          <p:nvPr>
            <p:ph type="dt" sz="half" idx="10"/>
          </p:nvPr>
        </p:nvSpPr>
        <p:spPr>
          <a:xfrm>
            <a:off x="9948863" y="6582426"/>
            <a:ext cx="1727201" cy="275573"/>
          </a:xfrm>
        </p:spPr>
        <p:txBody>
          <a:bodyPr/>
          <a:lstStyle>
            <a:lvl1pPr>
              <a:defRPr>
                <a:solidFill>
                  <a:schemeClr val="bg1"/>
                </a:solidFill>
              </a:defRPr>
            </a:lvl1pPr>
          </a:lstStyle>
          <a:p>
            <a:r>
              <a:rPr lang="en-US"/>
              <a:t>Date</a:t>
            </a:r>
            <a:endParaRPr lang="en-US" dirty="0"/>
          </a:p>
        </p:txBody>
      </p:sp>
      <p:sp>
        <p:nvSpPr>
          <p:cNvPr id="6" name="Slide Number Placeholder 5">
            <a:extLst>
              <a:ext uri="{FF2B5EF4-FFF2-40B4-BE49-F238E27FC236}">
                <a16:creationId xmlns:a16="http://schemas.microsoft.com/office/drawing/2014/main" id="{1D7FD609-4A3F-DB41-BC12-36CA9622AEB9}"/>
              </a:ext>
            </a:extLst>
          </p:cNvPr>
          <p:cNvSpPr>
            <a:spLocks noGrp="1"/>
          </p:cNvSpPr>
          <p:nvPr>
            <p:ph type="sldNum" sz="quarter" idx="12"/>
          </p:nvPr>
        </p:nvSpPr>
        <p:spPr>
          <a:xfrm>
            <a:off x="11676063" y="6582426"/>
            <a:ext cx="515935" cy="275573"/>
          </a:xfrm>
        </p:spPr>
        <p:txBody>
          <a:bodyPr/>
          <a:lstStyle>
            <a:lvl1pPr>
              <a:defRPr>
                <a:solidFill>
                  <a:schemeClr val="bg1"/>
                </a:solidFill>
              </a:defRPr>
            </a:lvl1pPr>
          </a:lstStyle>
          <a:p>
            <a:fld id="{F9591D4C-BB8F-AE46-BE73-C616F30BBC5B}" type="slidenum">
              <a:rPr lang="en-US" smtClean="0"/>
              <a:pPr/>
              <a:t>‹#›</a:t>
            </a:fld>
            <a:endParaRPr lang="en-US" dirty="0"/>
          </a:p>
        </p:txBody>
      </p:sp>
      <p:sp>
        <p:nvSpPr>
          <p:cNvPr id="16" name="Text Placeholder 3">
            <a:extLst>
              <a:ext uri="{FF2B5EF4-FFF2-40B4-BE49-F238E27FC236}">
                <a16:creationId xmlns:a16="http://schemas.microsoft.com/office/drawing/2014/main" id="{01B967B4-A4A5-4E49-8E24-3D0268114DEC}"/>
              </a:ext>
            </a:extLst>
          </p:cNvPr>
          <p:cNvSpPr>
            <a:spLocks noGrp="1"/>
          </p:cNvSpPr>
          <p:nvPr>
            <p:ph type="body" sz="half" idx="13" hasCustomPrompt="1"/>
          </p:nvPr>
        </p:nvSpPr>
        <p:spPr>
          <a:xfrm>
            <a:off x="515938" y="1379152"/>
            <a:ext cx="3600450" cy="312517"/>
          </a:xfrm>
          <a:prstGeom prst="rect">
            <a:avLst/>
          </a:prstGeom>
        </p:spPr>
        <p:txBody>
          <a:bodyPr/>
          <a:lstStyle>
            <a:lvl1pPr marL="0" indent="0">
              <a:lnSpc>
                <a:spcPct val="100000"/>
              </a:lnSpc>
              <a:buNone/>
              <a:defRPr sz="2200" b="1">
                <a:solidFill>
                  <a:schemeClr val="accent6"/>
                </a:solidFill>
                <a:latin typeface="Cambria" panose="02040503050406030204" pitchFamily="18"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Optional Subhead</a:t>
            </a:r>
          </a:p>
        </p:txBody>
      </p:sp>
      <p:sp>
        <p:nvSpPr>
          <p:cNvPr id="9" name="Media Placeholder 8">
            <a:extLst>
              <a:ext uri="{FF2B5EF4-FFF2-40B4-BE49-F238E27FC236}">
                <a16:creationId xmlns:a16="http://schemas.microsoft.com/office/drawing/2014/main" id="{3586BF4F-ECBA-DA41-A8F5-55F0BC9F1C92}"/>
              </a:ext>
            </a:extLst>
          </p:cNvPr>
          <p:cNvSpPr>
            <a:spLocks noGrp="1"/>
          </p:cNvSpPr>
          <p:nvPr>
            <p:ph type="media" sz="quarter" idx="14"/>
          </p:nvPr>
        </p:nvSpPr>
        <p:spPr>
          <a:xfrm>
            <a:off x="4295776" y="1456408"/>
            <a:ext cx="7380288" cy="4102266"/>
          </a:xfrm>
          <a:prstGeom prst="rect">
            <a:avLst/>
          </a:prstGeom>
          <a:solidFill>
            <a:schemeClr val="bg2"/>
          </a:solidFill>
        </p:spPr>
        <p:txBody>
          <a:bodyPr/>
          <a:lstStyle/>
          <a:p>
            <a:r>
              <a:rPr lang="en-US"/>
              <a:t>Click icon to add media</a:t>
            </a:r>
          </a:p>
        </p:txBody>
      </p:sp>
      <p:sp>
        <p:nvSpPr>
          <p:cNvPr id="11" name="Title 1">
            <a:extLst>
              <a:ext uri="{FF2B5EF4-FFF2-40B4-BE49-F238E27FC236}">
                <a16:creationId xmlns:a16="http://schemas.microsoft.com/office/drawing/2014/main" id="{13CA4D8C-442E-FB42-8F3E-E451E540B551}"/>
              </a:ext>
            </a:extLst>
          </p:cNvPr>
          <p:cNvSpPr>
            <a:spLocks noGrp="1"/>
          </p:cNvSpPr>
          <p:nvPr>
            <p:ph type="title" hasCustomPrompt="1"/>
          </p:nvPr>
        </p:nvSpPr>
        <p:spPr>
          <a:xfrm>
            <a:off x="515938" y="368300"/>
            <a:ext cx="11160125" cy="416263"/>
          </a:xfrm>
          <a:prstGeom prst="rect">
            <a:avLst/>
          </a:prstGeom>
        </p:spPr>
        <p:txBody>
          <a:bodyPr/>
          <a:lstStyle>
            <a:lvl1pPr>
              <a:defRPr sz="3600">
                <a:solidFill>
                  <a:schemeClr val="tx1"/>
                </a:solidFill>
                <a:latin typeface="Cambria" panose="02040503050406030204" pitchFamily="18" charset="0"/>
              </a:defRPr>
            </a:lvl1pPr>
          </a:lstStyle>
          <a:p>
            <a:r>
              <a:rPr lang="en-US" dirty="0"/>
              <a:t>Click to edit title</a:t>
            </a:r>
          </a:p>
        </p:txBody>
      </p:sp>
      <p:sp>
        <p:nvSpPr>
          <p:cNvPr id="12" name="Text Placeholder 1">
            <a:extLst>
              <a:ext uri="{FF2B5EF4-FFF2-40B4-BE49-F238E27FC236}">
                <a16:creationId xmlns:a16="http://schemas.microsoft.com/office/drawing/2014/main" id="{21F87D48-DB15-B446-8592-675A5648A46E}"/>
              </a:ext>
            </a:extLst>
          </p:cNvPr>
          <p:cNvSpPr>
            <a:spLocks noGrp="1"/>
          </p:cNvSpPr>
          <p:nvPr>
            <p:ph type="body" sz="quarter" idx="15" hasCustomPrompt="1"/>
          </p:nvPr>
        </p:nvSpPr>
        <p:spPr>
          <a:xfrm>
            <a:off x="515938" y="899161"/>
            <a:ext cx="1116012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4" name="TextBox 13">
            <a:extLst>
              <a:ext uri="{FF2B5EF4-FFF2-40B4-BE49-F238E27FC236}">
                <a16:creationId xmlns:a16="http://schemas.microsoft.com/office/drawing/2014/main" id="{A732BC2D-7883-43E8-AE7E-0B7C8E2B772C}"/>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5" name="Footer Placeholder 4">
            <a:extLst>
              <a:ext uri="{FF2B5EF4-FFF2-40B4-BE49-F238E27FC236}">
                <a16:creationId xmlns:a16="http://schemas.microsoft.com/office/drawing/2014/main" id="{F3E55AFB-B7E1-E34D-8E64-9DF8E0FA6433}"/>
              </a:ext>
            </a:extLst>
          </p:cNvPr>
          <p:cNvSpPr>
            <a:spLocks noGrp="1"/>
          </p:cNvSpPr>
          <p:nvPr>
            <p:ph type="ftr" sz="quarter" idx="11"/>
          </p:nvPr>
        </p:nvSpPr>
        <p:spPr>
          <a:xfrm>
            <a:off x="2387600" y="6582425"/>
            <a:ext cx="7416800" cy="275575"/>
          </a:xfrm>
          <a:prstGeom prst="rect">
            <a:avLst/>
          </a:prstGeom>
        </p:spPr>
        <p:txBody>
          <a:bodyPr/>
          <a:lstStyle>
            <a:lvl1pPr>
              <a:defRPr>
                <a:solidFill>
                  <a:schemeClr val="bg1"/>
                </a:solidFill>
              </a:defRPr>
            </a:lvl1pPr>
          </a:lstStyle>
          <a:p>
            <a:endParaRPr lang="en-US" dirty="0"/>
          </a:p>
        </p:txBody>
      </p:sp>
      <p:sp>
        <p:nvSpPr>
          <p:cNvPr id="13" name="Content Placeholder 8"/>
          <p:cNvSpPr>
            <a:spLocks noGrp="1"/>
          </p:cNvSpPr>
          <p:nvPr>
            <p:ph sz="quarter" idx="19"/>
          </p:nvPr>
        </p:nvSpPr>
        <p:spPr>
          <a:xfrm>
            <a:off x="515939" y="1726616"/>
            <a:ext cx="3600450" cy="4582109"/>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17168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
    <p:spTree>
      <p:nvGrpSpPr>
        <p:cNvPr id="1" name=""/>
        <p:cNvGrpSpPr/>
        <p:nvPr/>
      </p:nvGrpSpPr>
      <p:grpSpPr>
        <a:xfrm>
          <a:off x="0" y="0"/>
          <a:ext cx="0" cy="0"/>
          <a:chOff x="0" y="0"/>
          <a:chExt cx="0" cy="0"/>
        </a:xfrm>
      </p:grpSpPr>
      <p:sp>
        <p:nvSpPr>
          <p:cNvPr id="9" name="Content Placeholder 8"/>
          <p:cNvSpPr>
            <a:spLocks noGrp="1"/>
          </p:cNvSpPr>
          <p:nvPr>
            <p:ph sz="quarter" idx="18"/>
          </p:nvPr>
        </p:nvSpPr>
        <p:spPr>
          <a:xfrm>
            <a:off x="515938" y="1882172"/>
            <a:ext cx="7380287" cy="1781666"/>
          </a:xfrm>
        </p:spPr>
        <p:txBody>
          <a:bodyPr/>
          <a:lstStyle>
            <a:lvl1pPr>
              <a:lnSpc>
                <a:spcPct val="100000"/>
              </a:lnSpc>
              <a:defRPr/>
            </a:lvl1pPr>
            <a:lvl2pPr>
              <a:lnSpc>
                <a:spcPct val="100000"/>
              </a:lnSpc>
              <a:defRPr/>
            </a:lvl2pPr>
            <a:lvl3pPr>
              <a:lnSpc>
                <a:spcPct val="100000"/>
              </a:lnSpc>
              <a:defRPr/>
            </a:lvl3pPr>
          </a:lstStyle>
          <a:p>
            <a:pPr lvl="0"/>
            <a:r>
              <a:rPr lang="en-US"/>
              <a:t>Click to edit Master text styles</a:t>
            </a:r>
          </a:p>
          <a:p>
            <a:pPr lvl="1"/>
            <a:r>
              <a:rPr lang="en-US"/>
              <a:t>Second level</a:t>
            </a:r>
          </a:p>
          <a:p>
            <a:pPr lvl="2"/>
            <a:r>
              <a:rPr lang="en-US"/>
              <a:t>Third level</a:t>
            </a:r>
          </a:p>
        </p:txBody>
      </p:sp>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8"/>
            <a:ext cx="1727201" cy="261201"/>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7377597"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8" y="368300"/>
            <a:ext cx="7380366"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1" name="Rectangle 10">
            <a:extLst>
              <a:ext uri="{FF2B5EF4-FFF2-40B4-BE49-F238E27FC236}">
                <a16:creationId xmlns:a16="http://schemas.microsoft.com/office/drawing/2014/main" id="{8B5C996B-0918-804B-BD4C-32A658B584F3}"/>
              </a:ext>
            </a:extLst>
          </p:cNvPr>
          <p:cNvSpPr/>
          <p:nvPr userDrawn="1"/>
        </p:nvSpPr>
        <p:spPr>
          <a:xfrm>
            <a:off x="8058150" y="0"/>
            <a:ext cx="4133849" cy="65818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13" name="Picture Placeholder 4">
            <a:extLst>
              <a:ext uri="{FF2B5EF4-FFF2-40B4-BE49-F238E27FC236}">
                <a16:creationId xmlns:a16="http://schemas.microsoft.com/office/drawing/2014/main" id="{CEF10358-DE3B-1C41-B905-26A91041C344}"/>
              </a:ext>
            </a:extLst>
          </p:cNvPr>
          <p:cNvSpPr>
            <a:spLocks noGrp="1"/>
          </p:cNvSpPr>
          <p:nvPr>
            <p:ph type="pic" sz="quarter" idx="22"/>
          </p:nvPr>
        </p:nvSpPr>
        <p:spPr>
          <a:xfrm>
            <a:off x="8308657" y="1292247"/>
            <a:ext cx="3603626" cy="2371591"/>
          </a:xfrm>
          <a:solidFill>
            <a:schemeClr val="bg2"/>
          </a:solidFill>
        </p:spPr>
        <p:txBody>
          <a:bodyPr/>
          <a:lstStyle/>
          <a:p>
            <a:r>
              <a:rPr lang="en-US"/>
              <a:t>Click icon to add picture</a:t>
            </a:r>
            <a:endParaRPr lang="en-US" dirty="0"/>
          </a:p>
        </p:txBody>
      </p:sp>
      <p:sp>
        <p:nvSpPr>
          <p:cNvPr id="16" name="Picture Placeholder 4">
            <a:extLst>
              <a:ext uri="{FF2B5EF4-FFF2-40B4-BE49-F238E27FC236}">
                <a16:creationId xmlns:a16="http://schemas.microsoft.com/office/drawing/2014/main" id="{E503EE10-EC69-8441-89CD-18D4329ECC67}"/>
              </a:ext>
            </a:extLst>
          </p:cNvPr>
          <p:cNvSpPr>
            <a:spLocks noGrp="1"/>
          </p:cNvSpPr>
          <p:nvPr>
            <p:ph type="pic" sz="quarter" idx="23"/>
          </p:nvPr>
        </p:nvSpPr>
        <p:spPr>
          <a:xfrm>
            <a:off x="8308656" y="3937329"/>
            <a:ext cx="3603626" cy="2371396"/>
          </a:xfrm>
          <a:solidFill>
            <a:schemeClr val="bg2"/>
          </a:solidFill>
        </p:spPr>
        <p:txBody>
          <a:bodyPr/>
          <a:lstStyle/>
          <a:p>
            <a:r>
              <a:rPr lang="en-US"/>
              <a:t>Click icon to add picture</a:t>
            </a:r>
            <a:endParaRPr lang="en-US" dirty="0"/>
          </a:p>
        </p:txBody>
      </p:sp>
      <p:sp>
        <p:nvSpPr>
          <p:cNvPr id="18"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7377597"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9" name="Content Placeholder 8"/>
          <p:cNvSpPr>
            <a:spLocks noGrp="1"/>
          </p:cNvSpPr>
          <p:nvPr>
            <p:ph sz="quarter" idx="24"/>
          </p:nvPr>
        </p:nvSpPr>
        <p:spPr>
          <a:xfrm>
            <a:off x="515938" y="4527059"/>
            <a:ext cx="7380287" cy="1781666"/>
          </a:xfrm>
        </p:spPr>
        <p:txBody>
          <a:bodyPr/>
          <a:lstStyle>
            <a:lvl1pPr>
              <a:lnSpc>
                <a:spcPct val="100000"/>
              </a:lnSpc>
              <a:defRPr/>
            </a:lvl1pPr>
            <a:lvl2pPr>
              <a:lnSpc>
                <a:spcPct val="100000"/>
              </a:lnSpc>
              <a:defRPr/>
            </a:lvl2pPr>
            <a:lvl3pPr>
              <a:lnSpc>
                <a:spcPct val="100000"/>
              </a:lnSpc>
              <a:defRPr/>
            </a:lvl3pPr>
          </a:lstStyle>
          <a:p>
            <a:pPr lvl="0"/>
            <a:r>
              <a:rPr lang="en-US"/>
              <a:t>Click to edit Master text styles</a:t>
            </a:r>
          </a:p>
          <a:p>
            <a:pPr lvl="1"/>
            <a:r>
              <a:rPr lang="en-US"/>
              <a:t>Second level</a:t>
            </a:r>
          </a:p>
          <a:p>
            <a:pPr lvl="2"/>
            <a:r>
              <a:rPr lang="en-US"/>
              <a:t>Third level</a:t>
            </a:r>
          </a:p>
        </p:txBody>
      </p:sp>
      <p:sp>
        <p:nvSpPr>
          <p:cNvPr id="20" name="Text Placeholder 2">
            <a:extLst>
              <a:ext uri="{FF2B5EF4-FFF2-40B4-BE49-F238E27FC236}">
                <a16:creationId xmlns:a16="http://schemas.microsoft.com/office/drawing/2014/main" id="{65975A82-7EB2-6E48-B38C-B5AEBD5D9A89}"/>
              </a:ext>
            </a:extLst>
          </p:cNvPr>
          <p:cNvSpPr>
            <a:spLocks noGrp="1" noChangeAspect="1"/>
          </p:cNvSpPr>
          <p:nvPr>
            <p:ph type="body" idx="25" hasCustomPrompt="1"/>
          </p:nvPr>
        </p:nvSpPr>
        <p:spPr>
          <a:xfrm>
            <a:off x="515938" y="4077087"/>
            <a:ext cx="7377597"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Slide">
    <p:spTree>
      <p:nvGrpSpPr>
        <p:cNvPr id="1" name=""/>
        <p:cNvGrpSpPr/>
        <p:nvPr/>
      </p:nvGrpSpPr>
      <p:grpSpPr>
        <a:xfrm>
          <a:off x="0" y="0"/>
          <a:ext cx="0" cy="0"/>
          <a:chOff x="0" y="0"/>
          <a:chExt cx="0" cy="0"/>
        </a:xfrm>
      </p:grpSpPr>
      <p:sp>
        <p:nvSpPr>
          <p:cNvPr id="9" name="Content Placeholder 8"/>
          <p:cNvSpPr>
            <a:spLocks noGrp="1"/>
          </p:cNvSpPr>
          <p:nvPr>
            <p:ph sz="quarter" idx="18"/>
          </p:nvPr>
        </p:nvSpPr>
        <p:spPr>
          <a:xfrm>
            <a:off x="515939" y="1882171"/>
            <a:ext cx="5206682" cy="442655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5202444"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8"/>
            <a:ext cx="1727201" cy="261201"/>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520244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8" y="368300"/>
            <a:ext cx="5206806"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1" name="Rectangle 10">
            <a:extLst>
              <a:ext uri="{FF2B5EF4-FFF2-40B4-BE49-F238E27FC236}">
                <a16:creationId xmlns:a16="http://schemas.microsoft.com/office/drawing/2014/main" id="{8B5C996B-0918-804B-BD4C-32A658B584F3}"/>
              </a:ext>
            </a:extLst>
          </p:cNvPr>
          <p:cNvSpPr/>
          <p:nvPr userDrawn="1"/>
        </p:nvSpPr>
        <p:spPr>
          <a:xfrm>
            <a:off x="6096000" y="0"/>
            <a:ext cx="6095999" cy="65818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13" name="Content Placeholder 8"/>
          <p:cNvSpPr>
            <a:spLocks noGrp="1"/>
          </p:cNvSpPr>
          <p:nvPr>
            <p:ph sz="quarter" idx="19"/>
          </p:nvPr>
        </p:nvSpPr>
        <p:spPr>
          <a:xfrm>
            <a:off x="6477194" y="1882171"/>
            <a:ext cx="5198745" cy="4426554"/>
          </a:xfrm>
        </p:spPr>
        <p:txBody>
          <a:bodyPr/>
          <a:lstStyle>
            <a:lvl1pPr>
              <a:lnSpc>
                <a:spcPct val="100000"/>
              </a:lnSpc>
              <a:defRPr>
                <a:solidFill>
                  <a:schemeClr val="bg1"/>
                </a:solidFill>
              </a:defRPr>
            </a:lvl1pPr>
            <a:lvl2pPr>
              <a:lnSpc>
                <a:spcPct val="100000"/>
              </a:lnSpc>
              <a:defRPr>
                <a:solidFill>
                  <a:schemeClr val="bg1"/>
                </a:solidFill>
              </a:defRPr>
            </a:lvl2pPr>
            <a:lvl3pPr>
              <a:lnSpc>
                <a:spcPct val="100000"/>
              </a:lnSpc>
              <a:defRPr>
                <a:solidFill>
                  <a:schemeClr val="bg1"/>
                </a:solidFill>
              </a:defRPr>
            </a:lvl3pPr>
            <a:lvl4pPr>
              <a:lnSpc>
                <a:spcPct val="100000"/>
              </a:lnSpc>
              <a:defRPr>
                <a:solidFill>
                  <a:schemeClr val="bg1"/>
                </a:solidFill>
              </a:defRPr>
            </a:lvl4pPr>
            <a:lvl5pPr>
              <a:lnSpc>
                <a:spcPct val="100000"/>
              </a:lnSpc>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
            <a:extLst>
              <a:ext uri="{FF2B5EF4-FFF2-40B4-BE49-F238E27FC236}">
                <a16:creationId xmlns:a16="http://schemas.microsoft.com/office/drawing/2014/main" id="{65975A82-7EB2-6E48-B38C-B5AEBD5D9A89}"/>
              </a:ext>
            </a:extLst>
          </p:cNvPr>
          <p:cNvSpPr>
            <a:spLocks noGrp="1" noChangeAspect="1"/>
          </p:cNvSpPr>
          <p:nvPr>
            <p:ph type="body" idx="20" hasCustomPrompt="1"/>
          </p:nvPr>
        </p:nvSpPr>
        <p:spPr>
          <a:xfrm>
            <a:off x="6469257" y="1432200"/>
            <a:ext cx="5202444"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8" name="Text Placeholder 1">
            <a:extLst>
              <a:ext uri="{FF2B5EF4-FFF2-40B4-BE49-F238E27FC236}">
                <a16:creationId xmlns:a16="http://schemas.microsoft.com/office/drawing/2014/main" id="{B425B684-C025-7A40-8525-E424A3D79E9C}"/>
              </a:ext>
            </a:extLst>
          </p:cNvPr>
          <p:cNvSpPr>
            <a:spLocks noGrp="1"/>
          </p:cNvSpPr>
          <p:nvPr>
            <p:ph type="body" sz="quarter" idx="21" hasCustomPrompt="1"/>
          </p:nvPr>
        </p:nvSpPr>
        <p:spPr>
          <a:xfrm>
            <a:off x="6469257" y="899161"/>
            <a:ext cx="5202445"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6" name="Text Placeholder 5"/>
          <p:cNvSpPr>
            <a:spLocks noGrp="1"/>
          </p:cNvSpPr>
          <p:nvPr>
            <p:ph type="body" sz="quarter" idx="22" hasCustomPrompt="1"/>
          </p:nvPr>
        </p:nvSpPr>
        <p:spPr>
          <a:xfrm>
            <a:off x="6469257" y="398780"/>
            <a:ext cx="5207000" cy="577850"/>
          </a:xfrm>
        </p:spPr>
        <p:txBody>
          <a:bodyPr tIns="155448" anchor="t" anchorCtr="0"/>
          <a:lstStyle>
            <a:lvl1pPr marL="0" indent="0">
              <a:buNone/>
              <a:defRPr sz="3600">
                <a:solidFill>
                  <a:schemeClr val="bg1"/>
                </a:solidFill>
                <a:latin typeface="Cambria" charset="0"/>
                <a:ea typeface="Cambria" charset="0"/>
                <a:cs typeface="Cambria" charset="0"/>
              </a:defRPr>
            </a:lvl1pPr>
            <a:lvl2pPr marL="225425" indent="0">
              <a:buNone/>
              <a:defRPr>
                <a:solidFill>
                  <a:schemeClr val="bg1"/>
                </a:solidFill>
                <a:latin typeface="Cambria" charset="0"/>
                <a:ea typeface="Cambria" charset="0"/>
                <a:cs typeface="Cambria" charset="0"/>
              </a:defRPr>
            </a:lvl2pPr>
            <a:lvl3pPr marL="457200" indent="0">
              <a:buNone/>
              <a:defRPr>
                <a:solidFill>
                  <a:schemeClr val="bg1"/>
                </a:solidFill>
                <a:latin typeface="Cambria" charset="0"/>
                <a:ea typeface="Cambria" charset="0"/>
                <a:cs typeface="Cambria" charset="0"/>
              </a:defRPr>
            </a:lvl3pPr>
            <a:lvl4pPr marL="687387" indent="0">
              <a:buNone/>
              <a:defRPr>
                <a:solidFill>
                  <a:schemeClr val="bg1"/>
                </a:solidFill>
                <a:latin typeface="Cambria" charset="0"/>
                <a:ea typeface="Cambria" charset="0"/>
                <a:cs typeface="Cambria" charset="0"/>
              </a:defRPr>
            </a:lvl4pPr>
            <a:lvl5pPr marL="919163" indent="0">
              <a:buNone/>
              <a:defRPr>
                <a:solidFill>
                  <a:schemeClr val="bg1"/>
                </a:solidFill>
                <a:latin typeface="Cambria" charset="0"/>
                <a:ea typeface="Cambria" charset="0"/>
                <a:cs typeface="Cambria" charset="0"/>
              </a:defRPr>
            </a:lvl5pPr>
          </a:lstStyle>
          <a:p>
            <a:pPr lvl="0"/>
            <a:r>
              <a:rPr lang="en-US" dirty="0"/>
              <a:t>Click to edit tit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Slide no Tex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8"/>
            <a:ext cx="1727201" cy="261201"/>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520244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8" y="368300"/>
            <a:ext cx="5206806"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1" name="Rectangle 10">
            <a:extLst>
              <a:ext uri="{FF2B5EF4-FFF2-40B4-BE49-F238E27FC236}">
                <a16:creationId xmlns:a16="http://schemas.microsoft.com/office/drawing/2014/main" id="{8B5C996B-0918-804B-BD4C-32A658B584F3}"/>
              </a:ext>
            </a:extLst>
          </p:cNvPr>
          <p:cNvSpPr/>
          <p:nvPr userDrawn="1"/>
        </p:nvSpPr>
        <p:spPr>
          <a:xfrm>
            <a:off x="6096000" y="0"/>
            <a:ext cx="6095999" cy="65818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18" name="Text Placeholder 1">
            <a:extLst>
              <a:ext uri="{FF2B5EF4-FFF2-40B4-BE49-F238E27FC236}">
                <a16:creationId xmlns:a16="http://schemas.microsoft.com/office/drawing/2014/main" id="{B425B684-C025-7A40-8525-E424A3D79E9C}"/>
              </a:ext>
            </a:extLst>
          </p:cNvPr>
          <p:cNvSpPr>
            <a:spLocks noGrp="1"/>
          </p:cNvSpPr>
          <p:nvPr>
            <p:ph type="body" sz="quarter" idx="21" hasCustomPrompt="1"/>
          </p:nvPr>
        </p:nvSpPr>
        <p:spPr>
          <a:xfrm>
            <a:off x="6469257" y="899161"/>
            <a:ext cx="5202445" cy="237308"/>
          </a:xfrm>
          <a:prstGeom prst="rect">
            <a:avLst/>
          </a:prstGeom>
        </p:spPr>
        <p:txBody>
          <a:bodyPr rtlCol="0"/>
          <a:lstStyle>
            <a:lvl1pPr marL="0" indent="0">
              <a:lnSpc>
                <a:spcPct val="100000"/>
              </a:lnSpc>
              <a:buNone/>
              <a:defRPr sz="1800">
                <a:solidFill>
                  <a:schemeClr val="bg2"/>
                </a:solidFill>
              </a:defRPr>
            </a:lvl1pPr>
          </a:lstStyle>
          <a:p>
            <a:pPr defTabSz="180000" fontAlgn="auto">
              <a:spcAft>
                <a:spcPts val="0"/>
              </a:spcAft>
              <a:defRPr/>
            </a:pPr>
            <a:r>
              <a:rPr lang="en-US" dirty="0"/>
              <a:t>Optional Subtitle</a:t>
            </a:r>
          </a:p>
        </p:txBody>
      </p:sp>
      <p:sp>
        <p:nvSpPr>
          <p:cNvPr id="13" name="Text Placeholder 5">
            <a:extLst>
              <a:ext uri="{FF2B5EF4-FFF2-40B4-BE49-F238E27FC236}">
                <a16:creationId xmlns:a16="http://schemas.microsoft.com/office/drawing/2014/main" id="{A7EBFAC4-DC05-1441-BF3C-861FA1725BE0}"/>
              </a:ext>
            </a:extLst>
          </p:cNvPr>
          <p:cNvSpPr>
            <a:spLocks noGrp="1"/>
          </p:cNvSpPr>
          <p:nvPr>
            <p:ph type="body" sz="quarter" idx="22" hasCustomPrompt="1"/>
          </p:nvPr>
        </p:nvSpPr>
        <p:spPr>
          <a:xfrm>
            <a:off x="6469257" y="398780"/>
            <a:ext cx="5207000" cy="577850"/>
          </a:xfrm>
        </p:spPr>
        <p:txBody>
          <a:bodyPr tIns="155448" anchor="t" anchorCtr="0"/>
          <a:lstStyle>
            <a:lvl1pPr marL="0" indent="0">
              <a:buNone/>
              <a:defRPr sz="3600">
                <a:solidFill>
                  <a:schemeClr val="bg1"/>
                </a:solidFill>
                <a:latin typeface="Cambria" charset="0"/>
                <a:ea typeface="Cambria" charset="0"/>
                <a:cs typeface="Cambria" charset="0"/>
              </a:defRPr>
            </a:lvl1pPr>
            <a:lvl2pPr marL="225425" indent="0">
              <a:buNone/>
              <a:defRPr>
                <a:solidFill>
                  <a:schemeClr val="bg1"/>
                </a:solidFill>
                <a:latin typeface="Cambria" charset="0"/>
                <a:ea typeface="Cambria" charset="0"/>
                <a:cs typeface="Cambria" charset="0"/>
              </a:defRPr>
            </a:lvl2pPr>
            <a:lvl3pPr marL="457200" indent="0">
              <a:buNone/>
              <a:defRPr>
                <a:solidFill>
                  <a:schemeClr val="bg1"/>
                </a:solidFill>
                <a:latin typeface="Cambria" charset="0"/>
                <a:ea typeface="Cambria" charset="0"/>
                <a:cs typeface="Cambria" charset="0"/>
              </a:defRPr>
            </a:lvl3pPr>
            <a:lvl4pPr marL="687387" indent="0">
              <a:buNone/>
              <a:defRPr>
                <a:solidFill>
                  <a:schemeClr val="bg1"/>
                </a:solidFill>
                <a:latin typeface="Cambria" charset="0"/>
                <a:ea typeface="Cambria" charset="0"/>
                <a:cs typeface="Cambria" charset="0"/>
              </a:defRPr>
            </a:lvl4pPr>
            <a:lvl5pPr marL="919163" indent="0">
              <a:buNone/>
              <a:defRPr>
                <a:solidFill>
                  <a:schemeClr val="bg1"/>
                </a:solidFill>
                <a:latin typeface="Cambria" charset="0"/>
                <a:ea typeface="Cambria" charset="0"/>
                <a:cs typeface="Cambria" charset="0"/>
              </a:defRPr>
            </a:lvl5pPr>
          </a:lstStyle>
          <a:p>
            <a:pPr lvl="0"/>
            <a:r>
              <a:rPr lang="en-US" dirty="0"/>
              <a:t>Click to edit title</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Slide 2">
    <p:spTree>
      <p:nvGrpSpPr>
        <p:cNvPr id="1" name=""/>
        <p:cNvGrpSpPr/>
        <p:nvPr/>
      </p:nvGrpSpPr>
      <p:grpSpPr>
        <a:xfrm>
          <a:off x="0" y="0"/>
          <a:ext cx="0" cy="0"/>
          <a:chOff x="0" y="0"/>
          <a:chExt cx="0" cy="0"/>
        </a:xfrm>
      </p:grpSpPr>
      <p:sp>
        <p:nvSpPr>
          <p:cNvPr id="9" name="Content Placeholder 8"/>
          <p:cNvSpPr>
            <a:spLocks noGrp="1"/>
          </p:cNvSpPr>
          <p:nvPr>
            <p:ph sz="quarter" idx="18"/>
          </p:nvPr>
        </p:nvSpPr>
        <p:spPr>
          <a:xfrm>
            <a:off x="515935" y="4289456"/>
            <a:ext cx="5206686" cy="2019269"/>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8"/>
            <a:ext cx="1727201" cy="261201"/>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3831035"/>
            <a:ext cx="520244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8" y="3307049"/>
            <a:ext cx="5206806" cy="570278"/>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3" name="Content Placeholder 8"/>
          <p:cNvSpPr>
            <a:spLocks noGrp="1"/>
          </p:cNvSpPr>
          <p:nvPr>
            <p:ph sz="quarter" idx="19"/>
          </p:nvPr>
        </p:nvSpPr>
        <p:spPr>
          <a:xfrm>
            <a:off x="6477194" y="4289456"/>
            <a:ext cx="5198745" cy="2019269"/>
          </a:xfrm>
        </p:spPr>
        <p:txBody>
          <a:bodyPr/>
          <a:lstStyle>
            <a:lvl1pPr>
              <a:lnSpc>
                <a:spcPct val="100000"/>
              </a:lnSpc>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a:lnSpc>
                <a:spcPct val="100000"/>
              </a:lnSpc>
              <a:defRPr>
                <a:solidFill>
                  <a:schemeClr val="tx1"/>
                </a:solidFill>
              </a:defRPr>
            </a:lvl4pPr>
            <a:lvl5pPr>
              <a:lnSpc>
                <a:spcPct val="100000"/>
              </a:lnSpc>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
            <a:extLst>
              <a:ext uri="{FF2B5EF4-FFF2-40B4-BE49-F238E27FC236}">
                <a16:creationId xmlns:a16="http://schemas.microsoft.com/office/drawing/2014/main" id="{B425B684-C025-7A40-8525-E424A3D79E9C}"/>
              </a:ext>
            </a:extLst>
          </p:cNvPr>
          <p:cNvSpPr>
            <a:spLocks noGrp="1"/>
          </p:cNvSpPr>
          <p:nvPr>
            <p:ph type="body" sz="quarter" idx="21" hasCustomPrompt="1"/>
          </p:nvPr>
        </p:nvSpPr>
        <p:spPr>
          <a:xfrm>
            <a:off x="6469257" y="3831035"/>
            <a:ext cx="520244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9" name="Picture Placeholder 4">
            <a:extLst>
              <a:ext uri="{FF2B5EF4-FFF2-40B4-BE49-F238E27FC236}">
                <a16:creationId xmlns:a16="http://schemas.microsoft.com/office/drawing/2014/main" id="{CEF10358-DE3B-1C41-B905-26A91041C344}"/>
              </a:ext>
            </a:extLst>
          </p:cNvPr>
          <p:cNvSpPr>
            <a:spLocks noGrp="1"/>
          </p:cNvSpPr>
          <p:nvPr>
            <p:ph type="pic" sz="quarter" idx="23"/>
          </p:nvPr>
        </p:nvSpPr>
        <p:spPr>
          <a:xfrm>
            <a:off x="0" y="0"/>
            <a:ext cx="6096000" cy="3116033"/>
          </a:xfrm>
          <a:solidFill>
            <a:schemeClr val="bg2"/>
          </a:solidFill>
        </p:spPr>
        <p:txBody>
          <a:bodyPr/>
          <a:lstStyle/>
          <a:p>
            <a:r>
              <a:rPr lang="en-US"/>
              <a:t>Click icon to add picture</a:t>
            </a:r>
            <a:endParaRPr lang="en-US" dirty="0"/>
          </a:p>
        </p:txBody>
      </p:sp>
      <p:sp>
        <p:nvSpPr>
          <p:cNvPr id="20" name="Picture Placeholder 4">
            <a:extLst>
              <a:ext uri="{FF2B5EF4-FFF2-40B4-BE49-F238E27FC236}">
                <a16:creationId xmlns:a16="http://schemas.microsoft.com/office/drawing/2014/main" id="{CEF10358-DE3B-1C41-B905-26A91041C344}"/>
              </a:ext>
            </a:extLst>
          </p:cNvPr>
          <p:cNvSpPr>
            <a:spLocks noGrp="1"/>
          </p:cNvSpPr>
          <p:nvPr>
            <p:ph type="pic" sz="quarter" idx="24"/>
          </p:nvPr>
        </p:nvSpPr>
        <p:spPr>
          <a:xfrm>
            <a:off x="6095998" y="0"/>
            <a:ext cx="6096000" cy="3116033"/>
          </a:xfrm>
          <a:solidFill>
            <a:schemeClr val="bg2"/>
          </a:solidFill>
        </p:spPr>
        <p:txBody>
          <a:bodyPr/>
          <a:lstStyle/>
          <a:p>
            <a:r>
              <a:rPr lang="en-US"/>
              <a:t>Click icon to add picture</a:t>
            </a:r>
            <a:endParaRPr lang="en-US" dirty="0"/>
          </a:p>
        </p:txBody>
      </p:sp>
      <p:cxnSp>
        <p:nvCxnSpPr>
          <p:cNvPr id="7" name="Straight Connector 6"/>
          <p:cNvCxnSpPr/>
          <p:nvPr userDrawn="1"/>
        </p:nvCxnSpPr>
        <p:spPr>
          <a:xfrm>
            <a:off x="6095998" y="0"/>
            <a:ext cx="0" cy="658242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5">
            <a:extLst>
              <a:ext uri="{FF2B5EF4-FFF2-40B4-BE49-F238E27FC236}">
                <a16:creationId xmlns:a16="http://schemas.microsoft.com/office/drawing/2014/main" id="{1C24C823-2B6F-1243-A14A-AF8B8CA8C28A}"/>
              </a:ext>
            </a:extLst>
          </p:cNvPr>
          <p:cNvSpPr>
            <a:spLocks noGrp="1"/>
          </p:cNvSpPr>
          <p:nvPr>
            <p:ph type="body" sz="quarter" idx="25" hasCustomPrompt="1"/>
          </p:nvPr>
        </p:nvSpPr>
        <p:spPr>
          <a:xfrm>
            <a:off x="6469257" y="3312125"/>
            <a:ext cx="5207000" cy="577850"/>
          </a:xfrm>
        </p:spPr>
        <p:txBody>
          <a:bodyPr tIns="155448" anchor="t" anchorCtr="0"/>
          <a:lstStyle>
            <a:lvl1pPr marL="0" indent="0">
              <a:buNone/>
              <a:defRPr sz="3600">
                <a:solidFill>
                  <a:schemeClr val="tx1"/>
                </a:solidFill>
                <a:latin typeface="Cambria" charset="0"/>
                <a:ea typeface="Cambria" charset="0"/>
                <a:cs typeface="Cambria" charset="0"/>
              </a:defRPr>
            </a:lvl1pPr>
            <a:lvl2pPr marL="225425" indent="0">
              <a:buNone/>
              <a:defRPr>
                <a:solidFill>
                  <a:schemeClr val="bg1"/>
                </a:solidFill>
                <a:latin typeface="Cambria" charset="0"/>
                <a:ea typeface="Cambria" charset="0"/>
                <a:cs typeface="Cambria" charset="0"/>
              </a:defRPr>
            </a:lvl2pPr>
            <a:lvl3pPr marL="457200" indent="0">
              <a:buNone/>
              <a:defRPr>
                <a:solidFill>
                  <a:schemeClr val="bg1"/>
                </a:solidFill>
                <a:latin typeface="Cambria" charset="0"/>
                <a:ea typeface="Cambria" charset="0"/>
                <a:cs typeface="Cambria" charset="0"/>
              </a:defRPr>
            </a:lvl3pPr>
            <a:lvl4pPr marL="687387" indent="0">
              <a:buNone/>
              <a:defRPr>
                <a:solidFill>
                  <a:schemeClr val="bg1"/>
                </a:solidFill>
                <a:latin typeface="Cambria" charset="0"/>
                <a:ea typeface="Cambria" charset="0"/>
                <a:cs typeface="Cambria" charset="0"/>
              </a:defRPr>
            </a:lvl4pPr>
            <a:lvl5pPr marL="919163" indent="0">
              <a:buNone/>
              <a:defRPr>
                <a:solidFill>
                  <a:schemeClr val="bg1"/>
                </a:solidFill>
                <a:latin typeface="Cambria" charset="0"/>
                <a:ea typeface="Cambria" charset="0"/>
                <a:cs typeface="Cambria" charset="0"/>
              </a:defRPr>
            </a:lvl5pPr>
          </a:lstStyle>
          <a:p>
            <a:pPr lvl="0"/>
            <a:r>
              <a:rPr lang="en-US" dirty="0"/>
              <a:t>Click to edit title</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Slide 3">
    <p:spTree>
      <p:nvGrpSpPr>
        <p:cNvPr id="1" name=""/>
        <p:cNvGrpSpPr/>
        <p:nvPr/>
      </p:nvGrpSpPr>
      <p:grpSpPr>
        <a:xfrm>
          <a:off x="0" y="0"/>
          <a:ext cx="0" cy="0"/>
          <a:chOff x="0" y="0"/>
          <a:chExt cx="0" cy="0"/>
        </a:xfrm>
      </p:grpSpPr>
      <p:sp>
        <p:nvSpPr>
          <p:cNvPr id="9" name="Content Placeholder 8"/>
          <p:cNvSpPr>
            <a:spLocks noGrp="1"/>
          </p:cNvSpPr>
          <p:nvPr>
            <p:ph sz="quarter" idx="18"/>
          </p:nvPr>
        </p:nvSpPr>
        <p:spPr>
          <a:xfrm>
            <a:off x="515935" y="4472336"/>
            <a:ext cx="5206686" cy="1836389"/>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8"/>
            <a:ext cx="1727201" cy="261201"/>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4013915"/>
            <a:ext cx="520244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4" y="3489929"/>
            <a:ext cx="5206810" cy="570278"/>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3" name="Content Placeholder 8"/>
          <p:cNvSpPr>
            <a:spLocks noGrp="1"/>
          </p:cNvSpPr>
          <p:nvPr>
            <p:ph sz="quarter" idx="19"/>
          </p:nvPr>
        </p:nvSpPr>
        <p:spPr>
          <a:xfrm>
            <a:off x="6477194" y="1327102"/>
            <a:ext cx="5198745" cy="2019269"/>
          </a:xfrm>
        </p:spPr>
        <p:txBody>
          <a:bodyPr/>
          <a:lstStyle>
            <a:lvl1pPr>
              <a:lnSpc>
                <a:spcPct val="100000"/>
              </a:lnSpc>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a:lnSpc>
                <a:spcPct val="100000"/>
              </a:lnSpc>
              <a:defRPr>
                <a:solidFill>
                  <a:schemeClr val="tx1"/>
                </a:solidFill>
              </a:defRPr>
            </a:lvl4pPr>
            <a:lvl5pPr>
              <a:lnSpc>
                <a:spcPct val="100000"/>
              </a:lnSpc>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
            <a:extLst>
              <a:ext uri="{FF2B5EF4-FFF2-40B4-BE49-F238E27FC236}">
                <a16:creationId xmlns:a16="http://schemas.microsoft.com/office/drawing/2014/main" id="{B425B684-C025-7A40-8525-E424A3D79E9C}"/>
              </a:ext>
            </a:extLst>
          </p:cNvPr>
          <p:cNvSpPr>
            <a:spLocks noGrp="1"/>
          </p:cNvSpPr>
          <p:nvPr>
            <p:ph type="body" sz="quarter" idx="21" hasCustomPrompt="1"/>
          </p:nvPr>
        </p:nvSpPr>
        <p:spPr>
          <a:xfrm>
            <a:off x="6469257" y="868681"/>
            <a:ext cx="520244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9" name="Picture Placeholder 4">
            <a:extLst>
              <a:ext uri="{FF2B5EF4-FFF2-40B4-BE49-F238E27FC236}">
                <a16:creationId xmlns:a16="http://schemas.microsoft.com/office/drawing/2014/main" id="{CEF10358-DE3B-1C41-B905-26A91041C344}"/>
              </a:ext>
            </a:extLst>
          </p:cNvPr>
          <p:cNvSpPr>
            <a:spLocks noGrp="1"/>
          </p:cNvSpPr>
          <p:nvPr>
            <p:ph type="pic" sz="quarter" idx="23"/>
          </p:nvPr>
        </p:nvSpPr>
        <p:spPr>
          <a:xfrm>
            <a:off x="0" y="0"/>
            <a:ext cx="6096000" cy="3276600"/>
          </a:xfrm>
          <a:solidFill>
            <a:schemeClr val="bg2"/>
          </a:solidFill>
        </p:spPr>
        <p:txBody>
          <a:bodyPr/>
          <a:lstStyle/>
          <a:p>
            <a:r>
              <a:rPr lang="en-US"/>
              <a:t>Click icon to add picture</a:t>
            </a:r>
            <a:endParaRPr lang="en-US" dirty="0"/>
          </a:p>
        </p:txBody>
      </p:sp>
      <p:sp>
        <p:nvSpPr>
          <p:cNvPr id="20" name="Picture Placeholder 4">
            <a:extLst>
              <a:ext uri="{FF2B5EF4-FFF2-40B4-BE49-F238E27FC236}">
                <a16:creationId xmlns:a16="http://schemas.microsoft.com/office/drawing/2014/main" id="{CEF10358-DE3B-1C41-B905-26A91041C344}"/>
              </a:ext>
            </a:extLst>
          </p:cNvPr>
          <p:cNvSpPr>
            <a:spLocks noGrp="1"/>
          </p:cNvSpPr>
          <p:nvPr>
            <p:ph type="pic" sz="quarter" idx="24"/>
          </p:nvPr>
        </p:nvSpPr>
        <p:spPr>
          <a:xfrm>
            <a:off x="6095998" y="3276600"/>
            <a:ext cx="6096000" cy="3298641"/>
          </a:xfrm>
          <a:solidFill>
            <a:schemeClr val="bg2"/>
          </a:solidFill>
        </p:spPr>
        <p:txBody>
          <a:bodyPr/>
          <a:lstStyle/>
          <a:p>
            <a:r>
              <a:rPr lang="en-US"/>
              <a:t>Click icon to add picture</a:t>
            </a:r>
            <a:endParaRPr lang="en-US" dirty="0"/>
          </a:p>
        </p:txBody>
      </p:sp>
      <p:cxnSp>
        <p:nvCxnSpPr>
          <p:cNvPr id="7" name="Straight Connector 6"/>
          <p:cNvCxnSpPr/>
          <p:nvPr userDrawn="1"/>
        </p:nvCxnSpPr>
        <p:spPr>
          <a:xfrm>
            <a:off x="6095998" y="0"/>
            <a:ext cx="0" cy="658242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026CBC9B-50DD-B646-80D0-F5FAA5759DBE}"/>
              </a:ext>
            </a:extLst>
          </p:cNvPr>
          <p:cNvSpPr>
            <a:spLocks noGrp="1"/>
          </p:cNvSpPr>
          <p:nvPr>
            <p:ph type="body" sz="quarter" idx="22" hasCustomPrompt="1"/>
          </p:nvPr>
        </p:nvSpPr>
        <p:spPr>
          <a:xfrm>
            <a:off x="6469257" y="398780"/>
            <a:ext cx="5207000" cy="577850"/>
          </a:xfrm>
        </p:spPr>
        <p:txBody>
          <a:bodyPr tIns="155448" anchor="t" anchorCtr="0"/>
          <a:lstStyle>
            <a:lvl1pPr marL="0" indent="0">
              <a:buNone/>
              <a:defRPr sz="3600">
                <a:solidFill>
                  <a:schemeClr val="tx1"/>
                </a:solidFill>
                <a:latin typeface="Cambria" charset="0"/>
                <a:ea typeface="Cambria" charset="0"/>
                <a:cs typeface="Cambria" charset="0"/>
              </a:defRPr>
            </a:lvl1pPr>
            <a:lvl2pPr marL="225425" indent="0">
              <a:buNone/>
              <a:defRPr>
                <a:solidFill>
                  <a:schemeClr val="bg1"/>
                </a:solidFill>
                <a:latin typeface="Cambria" charset="0"/>
                <a:ea typeface="Cambria" charset="0"/>
                <a:cs typeface="Cambria" charset="0"/>
              </a:defRPr>
            </a:lvl2pPr>
            <a:lvl3pPr marL="457200" indent="0">
              <a:buNone/>
              <a:defRPr>
                <a:solidFill>
                  <a:schemeClr val="bg1"/>
                </a:solidFill>
                <a:latin typeface="Cambria" charset="0"/>
                <a:ea typeface="Cambria" charset="0"/>
                <a:cs typeface="Cambria" charset="0"/>
              </a:defRPr>
            </a:lvl3pPr>
            <a:lvl4pPr marL="687387" indent="0">
              <a:buNone/>
              <a:defRPr>
                <a:solidFill>
                  <a:schemeClr val="bg1"/>
                </a:solidFill>
                <a:latin typeface="Cambria" charset="0"/>
                <a:ea typeface="Cambria" charset="0"/>
                <a:cs typeface="Cambria" charset="0"/>
              </a:defRPr>
            </a:lvl4pPr>
            <a:lvl5pPr marL="919163" indent="0">
              <a:buNone/>
              <a:defRPr>
                <a:solidFill>
                  <a:schemeClr val="bg1"/>
                </a:solidFill>
                <a:latin typeface="Cambria" charset="0"/>
                <a:ea typeface="Cambria" charset="0"/>
                <a:cs typeface="Cambria" charset="0"/>
              </a:defRPr>
            </a:lvl5pPr>
          </a:lstStyle>
          <a:p>
            <a:pPr lvl="0"/>
            <a:r>
              <a:rPr lang="en-US" dirty="0"/>
              <a:t>Click to edit tit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7"/>
            <a:ext cx="1727201" cy="261203"/>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olid Dark Blu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1"/>
            <a:ext cx="1219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228A888-D00A-714F-942B-CBD4BC82141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1853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 Image 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F40CF8B-694B-D74A-9EA0-5A303585C64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5938" y="6062542"/>
            <a:ext cx="730800" cy="427158"/>
          </a:xfrm>
          <a:prstGeom prst="rect">
            <a:avLst/>
          </a:prstGeom>
        </p:spPr>
      </p:pic>
      <p:sp>
        <p:nvSpPr>
          <p:cNvPr id="2" name="Title 1"/>
          <p:cNvSpPr>
            <a:spLocks noGrp="1"/>
          </p:cNvSpPr>
          <p:nvPr>
            <p:ph type="title"/>
          </p:nvPr>
        </p:nvSpPr>
        <p:spPr>
          <a:xfrm>
            <a:off x="515938" y="1789948"/>
            <a:ext cx="5832476" cy="1000317"/>
          </a:xfrm>
          <a:prstGeom prst="rect">
            <a:avLst/>
          </a:prstGeom>
        </p:spPr>
        <p:txBody>
          <a:bodyPr lIns="0" tIns="0" rIns="0" bIns="0"/>
          <a:lstStyle>
            <a:lvl1pPr algn="l">
              <a:defRPr sz="3600" b="0" i="0">
                <a:solidFill>
                  <a:schemeClr val="bg1"/>
                </a:solidFill>
                <a:latin typeface="Cambria" charset="0"/>
                <a:ea typeface="Cambria" charset="0"/>
                <a:cs typeface="Cambria" charset="0"/>
              </a:defRPr>
            </a:lvl1pPr>
          </a:lstStyle>
          <a:p>
            <a:r>
              <a:rPr lang="en-US"/>
              <a:t>Click to edit Master title style</a:t>
            </a:r>
            <a:endParaRPr lang="en-US" dirty="0"/>
          </a:p>
        </p:txBody>
      </p:sp>
      <p:sp>
        <p:nvSpPr>
          <p:cNvPr id="9" name="Text Placeholder 7">
            <a:extLst>
              <a:ext uri="{FF2B5EF4-FFF2-40B4-BE49-F238E27FC236}">
                <a16:creationId xmlns:a16="http://schemas.microsoft.com/office/drawing/2014/main" id="{4F8E9120-7FF1-4744-A198-62808AD32342}"/>
              </a:ext>
            </a:extLst>
          </p:cNvPr>
          <p:cNvSpPr>
            <a:spLocks noGrp="1"/>
          </p:cNvSpPr>
          <p:nvPr>
            <p:ph type="body" sz="quarter" idx="13" hasCustomPrompt="1"/>
          </p:nvPr>
        </p:nvSpPr>
        <p:spPr>
          <a:xfrm>
            <a:off x="515938" y="2903865"/>
            <a:ext cx="5832475" cy="525135"/>
          </a:xfrm>
          <a:prstGeom prst="rect">
            <a:avLst/>
          </a:prstGeom>
        </p:spPr>
        <p:txBody>
          <a:bodyPr wrap="square" lIns="0" tIns="0" rIns="0" bIns="0"/>
          <a:lstStyle>
            <a:lvl1pPr marL="0" indent="0" algn="l">
              <a:lnSpc>
                <a:spcPct val="100000"/>
              </a:lnSpc>
              <a:buNone/>
              <a:defRPr sz="2000" b="0" i="0">
                <a:solidFill>
                  <a:schemeClr val="bg1"/>
                </a:solidFill>
                <a:latin typeface="Arial" charset="0"/>
                <a:ea typeface="Arial" charset="0"/>
                <a:cs typeface="Arial" charset="0"/>
              </a:defRPr>
            </a:lvl1pPr>
          </a:lstStyle>
          <a:p>
            <a:pPr lvl="0"/>
            <a:r>
              <a:rPr lang="en-US" dirty="0"/>
              <a:t>Subhead Line 1</a:t>
            </a:r>
          </a:p>
        </p:txBody>
      </p:sp>
      <p:sp>
        <p:nvSpPr>
          <p:cNvPr id="10"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14457" y="6222223"/>
            <a:ext cx="1727200" cy="260593"/>
          </a:xfrm>
          <a:prstGeom prst="rect">
            <a:avLst/>
          </a:prstGeom>
        </p:spPr>
        <p:txBody>
          <a:bodyPr vert="horz" lIns="0" tIns="0" rIns="0" bIns="0" rtlCol="0" anchor="ctr"/>
          <a:lstStyle>
            <a:lvl1pPr algn="r">
              <a:defRPr sz="1100" b="0" i="0">
                <a:solidFill>
                  <a:schemeClr val="bg1"/>
                </a:solidFill>
                <a:latin typeface="+mn-lt"/>
                <a:ea typeface="Cambria" charset="0"/>
                <a:cs typeface="Cambria" charset="0"/>
              </a:defRPr>
            </a:lvl1pPr>
          </a:lstStyle>
          <a:p>
            <a:r>
              <a:rPr lang="en-US" dirty="0"/>
              <a:t>Dat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st Pag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7420B5-0C7D-8A40-916E-9DC1FF97152E}"/>
              </a:ext>
            </a:extLst>
          </p:cNvPr>
          <p:cNvSpPr/>
          <p:nvPr userDrawn="1"/>
        </p:nvSpPr>
        <p:spPr>
          <a:xfrm>
            <a:off x="0" y="1"/>
            <a:ext cx="1219199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94879B44-18AC-2341-9FB3-6A4BB7813EB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15938" y="6062542"/>
            <a:ext cx="730800" cy="427158"/>
          </a:xfrm>
          <a:prstGeom prst="rect">
            <a:avLst/>
          </a:prstGeom>
        </p:spPr>
      </p:pic>
    </p:spTree>
    <p:extLst>
      <p:ext uri="{BB962C8B-B14F-4D97-AF65-F5344CB8AC3E}">
        <p14:creationId xmlns:p14="http://schemas.microsoft.com/office/powerpoint/2010/main" val="25595550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lide #17">
    <p:spTree>
      <p:nvGrpSpPr>
        <p:cNvPr id="1" name=""/>
        <p:cNvGrpSpPr/>
        <p:nvPr/>
      </p:nvGrpSpPr>
      <p:grpSpPr>
        <a:xfrm>
          <a:off x="0" y="0"/>
          <a:ext cx="0" cy="0"/>
          <a:chOff x="0" y="0"/>
          <a:chExt cx="0" cy="0"/>
        </a:xfrm>
      </p:grpSpPr>
      <p:sp>
        <p:nvSpPr>
          <p:cNvPr id="9" name="Slide Number Placeholder 1">
            <a:extLst>
              <a:ext uri="{FF2B5EF4-FFF2-40B4-BE49-F238E27FC236}">
                <a16:creationId xmlns:a16="http://schemas.microsoft.com/office/drawing/2014/main" id="{AEF7AEC8-3437-AEA5-CBE7-1DB8616D0851}"/>
              </a:ext>
            </a:extLst>
          </p:cNvPr>
          <p:cNvSpPr>
            <a:spLocks noGrp="1"/>
          </p:cNvSpPr>
          <p:nvPr>
            <p:ph type="sldNum" sz="quarter" idx="4"/>
          </p:nvPr>
        </p:nvSpPr>
        <p:spPr>
          <a:xfrm>
            <a:off x="11568113" y="6532834"/>
            <a:ext cx="368963" cy="177002"/>
          </a:xfrm>
          <a:prstGeom prst="rect">
            <a:avLst/>
          </a:prstGeom>
        </p:spPr>
        <p:txBody>
          <a:bodyPr vert="horz" lIns="91440" tIns="45720" rIns="0" bIns="45720" rtlCol="0" anchor="ctr">
            <a:noAutofit/>
          </a:bodyPr>
          <a:lstStyle>
            <a:lvl1pPr marL="0" indent="0" algn="r">
              <a:tabLst/>
              <a:defRPr lang="en-AU" sz="1092" kern="1200" smtClean="0">
                <a:solidFill>
                  <a:schemeClr val="tx1"/>
                </a:solidFill>
                <a:latin typeface="+mj-lt"/>
                <a:ea typeface="+mn-ea"/>
                <a:cs typeface="+mn-cs"/>
              </a:defRPr>
            </a:lvl1pPr>
          </a:lstStyle>
          <a:p>
            <a:pPr marL="0" marR="0" lvl="0" indent="0" algn="r" defTabSz="554492" rtl="0" eaLnBrk="1" fontAlgn="auto" latinLnBrk="0" hangingPunct="1">
              <a:lnSpc>
                <a:spcPct val="100000"/>
              </a:lnSpc>
              <a:spcBef>
                <a:spcPts val="0"/>
              </a:spcBef>
              <a:spcAft>
                <a:spcPts val="0"/>
              </a:spcAft>
              <a:buClrTx/>
              <a:buSzTx/>
              <a:buFontTx/>
              <a:buNone/>
              <a:tabLst/>
              <a:defRPr/>
            </a:pPr>
            <a:fld id="{166846F3-1A8B-4395-8E23-16926FBF1F48}" type="slidenum">
              <a:rPr kumimoji="0" lang="en-AU" sz="1092" b="0" i="0" u="none" strike="noStrike" kern="1200" cap="none" spc="0" normalizeH="0" baseline="0" noProof="0" smtClean="0">
                <a:ln>
                  <a:noFill/>
                </a:ln>
                <a:solidFill>
                  <a:prstClr val="black"/>
                </a:solidFill>
                <a:effectLst/>
                <a:uLnTx/>
                <a:uFillTx/>
                <a:latin typeface="Cambria"/>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a:t>
            </a:fld>
            <a:endParaRPr kumimoji="0" lang="en-AU" sz="1092" b="0" i="0" u="none" strike="noStrike" kern="1200" cap="none" spc="0" normalizeH="0" baseline="0" noProof="0" dirty="0">
              <a:ln>
                <a:noFill/>
              </a:ln>
              <a:solidFill>
                <a:prstClr val="black"/>
              </a:solidFill>
              <a:effectLst/>
              <a:uLnTx/>
              <a:uFillTx/>
              <a:latin typeface="Cambria"/>
              <a:ea typeface="+mn-ea"/>
              <a:cs typeface="+mn-cs"/>
            </a:endParaRPr>
          </a:p>
        </p:txBody>
      </p:sp>
      <p:sp>
        <p:nvSpPr>
          <p:cNvPr id="2" name="Title Placeholder 6">
            <a:extLst>
              <a:ext uri="{FF2B5EF4-FFF2-40B4-BE49-F238E27FC236}">
                <a16:creationId xmlns:a16="http://schemas.microsoft.com/office/drawing/2014/main" id="{9F4A3BC0-36E6-7E03-8F0C-D37FA6FEA8DE}"/>
              </a:ext>
            </a:extLst>
          </p:cNvPr>
          <p:cNvSpPr>
            <a:spLocks noGrp="1"/>
          </p:cNvSpPr>
          <p:nvPr>
            <p:ph type="title"/>
          </p:nvPr>
        </p:nvSpPr>
        <p:spPr>
          <a:xfrm>
            <a:off x="631180" y="368719"/>
            <a:ext cx="10921179" cy="509847"/>
          </a:xfrm>
          <a:prstGeom prst="rect">
            <a:avLst/>
          </a:prstGeom>
        </p:spPr>
        <p:txBody>
          <a:bodyPr vert="horz" lIns="91440" tIns="45720" rIns="91440" bIns="45720" rtlCol="0" anchor="t">
            <a:noAutofit/>
          </a:bodyPr>
          <a:lstStyle/>
          <a:p>
            <a:r>
              <a:rPr lang="en-US"/>
              <a:t>Click to edit master title style</a:t>
            </a:r>
            <a:endParaRPr lang="en-AU"/>
          </a:p>
        </p:txBody>
      </p:sp>
    </p:spTree>
    <p:extLst>
      <p:ext uri="{BB962C8B-B14F-4D97-AF65-F5344CB8AC3E}">
        <p14:creationId xmlns:p14="http://schemas.microsoft.com/office/powerpoint/2010/main" val="4158604662"/>
      </p:ext>
    </p:extLst>
  </p:cSld>
  <p:clrMapOvr>
    <a:masterClrMapping/>
  </p:clrMapOvr>
  <mc:AlternateContent xmlns:mc="http://schemas.openxmlformats.org/markup-compatibility/2006" xmlns:p14="http://schemas.microsoft.com/office/powerpoint/2010/main">
    <mc:Choice Requires="p14">
      <p:transition p14:dur="0" advClick="0" advTm="1000"/>
    </mc:Choice>
    <mc:Fallback xmlns="">
      <p:transition advClick="0" advTm="100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ring 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F40CF8B-694B-D74A-9EA0-5A303585C64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5938" y="6062542"/>
            <a:ext cx="730800" cy="427158"/>
          </a:xfrm>
          <a:prstGeom prst="rect">
            <a:avLst/>
          </a:prstGeom>
        </p:spPr>
      </p:pic>
      <p:sp>
        <p:nvSpPr>
          <p:cNvPr id="2" name="Title 1"/>
          <p:cNvSpPr>
            <a:spLocks noGrp="1"/>
          </p:cNvSpPr>
          <p:nvPr>
            <p:ph type="title"/>
          </p:nvPr>
        </p:nvSpPr>
        <p:spPr>
          <a:xfrm>
            <a:off x="1552135" y="4748270"/>
            <a:ext cx="9087730" cy="1000317"/>
          </a:xfrm>
          <a:prstGeom prst="rect">
            <a:avLst/>
          </a:prstGeom>
        </p:spPr>
        <p:txBody>
          <a:bodyPr/>
          <a:lstStyle>
            <a:lvl1pPr algn="ctr">
              <a:defRPr sz="3600" b="0" i="0">
                <a:solidFill>
                  <a:schemeClr val="bg1"/>
                </a:solidFill>
                <a:latin typeface="Cambria" charset="0"/>
                <a:ea typeface="Cambria" charset="0"/>
                <a:cs typeface="Cambria" charset="0"/>
              </a:defRPr>
            </a:lvl1pPr>
          </a:lstStyle>
          <a:p>
            <a:r>
              <a:rPr lang="en-US"/>
              <a:t>Click to edit Master title style</a:t>
            </a:r>
            <a:endParaRPr lang="en-US" dirty="0"/>
          </a:p>
        </p:txBody>
      </p:sp>
      <p:sp>
        <p:nvSpPr>
          <p:cNvPr id="9" name="Text Placeholder 7">
            <a:extLst>
              <a:ext uri="{FF2B5EF4-FFF2-40B4-BE49-F238E27FC236}">
                <a16:creationId xmlns:a16="http://schemas.microsoft.com/office/drawing/2014/main" id="{4F8E9120-7FF1-4744-A198-62808AD32342}"/>
              </a:ext>
            </a:extLst>
          </p:cNvPr>
          <p:cNvSpPr>
            <a:spLocks noGrp="1"/>
          </p:cNvSpPr>
          <p:nvPr>
            <p:ph type="body" sz="quarter" idx="13" hasCustomPrompt="1"/>
          </p:nvPr>
        </p:nvSpPr>
        <p:spPr>
          <a:xfrm>
            <a:off x="3179763" y="5862187"/>
            <a:ext cx="5832475" cy="525135"/>
          </a:xfrm>
          <a:prstGeom prst="rect">
            <a:avLst/>
          </a:prstGeom>
        </p:spPr>
        <p:txBody>
          <a:bodyPr wrap="square" lIns="0" tIns="0" rIns="0" bIns="0"/>
          <a:lstStyle>
            <a:lvl1pPr marL="0" indent="0" algn="ctr">
              <a:lnSpc>
                <a:spcPct val="100000"/>
              </a:lnSpc>
              <a:buNone/>
              <a:defRPr sz="2000">
                <a:solidFill>
                  <a:schemeClr val="bg1"/>
                </a:solidFill>
                <a:latin typeface="Arial" charset="0"/>
                <a:ea typeface="Arial" charset="0"/>
                <a:cs typeface="Arial" charset="0"/>
              </a:defRPr>
            </a:lvl1pPr>
          </a:lstStyle>
          <a:p>
            <a:pPr lvl="0"/>
            <a:r>
              <a:rPr lang="en-US" dirty="0"/>
              <a:t>Subhead Line 1</a:t>
            </a:r>
          </a:p>
        </p:txBody>
      </p:sp>
      <p:sp>
        <p:nvSpPr>
          <p:cNvPr id="10"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14457" y="6222223"/>
            <a:ext cx="1727200" cy="260593"/>
          </a:xfrm>
          <a:prstGeom prst="rect">
            <a:avLst/>
          </a:prstGeom>
        </p:spPr>
        <p:txBody>
          <a:bodyPr vert="horz" lIns="0" tIns="0" rIns="0" bIns="0" rtlCol="0" anchor="ctr"/>
          <a:lstStyle>
            <a:lvl1pPr algn="r">
              <a:defRPr sz="1100" b="0" i="0">
                <a:solidFill>
                  <a:schemeClr val="bg1"/>
                </a:solidFill>
                <a:latin typeface="+mn-lt"/>
                <a:ea typeface="Cambria" charset="0"/>
                <a:cs typeface="Cambria" charset="0"/>
              </a:defRPr>
            </a:lvl1pPr>
          </a:lstStyle>
          <a:p>
            <a:r>
              <a:rPr lang="en-US" dirty="0"/>
              <a:t>Date</a:t>
            </a:r>
          </a:p>
        </p:txBody>
      </p:sp>
    </p:spTree>
    <p:extLst>
      <p:ext uri="{BB962C8B-B14F-4D97-AF65-F5344CB8AC3E}">
        <p14:creationId xmlns:p14="http://schemas.microsoft.com/office/powerpoint/2010/main" val="36446120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hotographic Cover 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B553E1-B08F-F745-81D2-F26D7718E7AC}"/>
              </a:ext>
            </a:extLst>
          </p:cNvPr>
          <p:cNvPicPr>
            <a:picLocks noChangeAspect="1"/>
          </p:cNvPicPr>
          <p:nvPr userDrawn="1"/>
        </p:nvPicPr>
        <p:blipFill>
          <a:blip r:embed="rId2"/>
          <a:stretch>
            <a:fillRect/>
          </a:stretch>
        </p:blipFill>
        <p:spPr>
          <a:xfrm>
            <a:off x="0" y="1562100"/>
            <a:ext cx="12192000" cy="5295900"/>
          </a:xfrm>
          <a:prstGeom prst="rect">
            <a:avLst/>
          </a:prstGeom>
        </p:spPr>
      </p:pic>
      <p:sp>
        <p:nvSpPr>
          <p:cNvPr id="14" name="Rectangle 13">
            <a:extLst>
              <a:ext uri="{FF2B5EF4-FFF2-40B4-BE49-F238E27FC236}">
                <a16:creationId xmlns:a16="http://schemas.microsoft.com/office/drawing/2014/main" id="{AA5AEFF1-2D6F-0C41-9FB6-0ADAB0AAF096}"/>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0" y="1"/>
            <a:ext cx="12192000" cy="6857999"/>
          </a:xfrm>
          <a:prstGeom prst="rect">
            <a:avLst/>
          </a:prstGeom>
          <a:noFill/>
          <a:ln w="190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CB330B11-E3CA-0542-B9E9-ACFD6565355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5938" y="6062542"/>
            <a:ext cx="730800" cy="427158"/>
          </a:xfrm>
          <a:prstGeom prst="rect">
            <a:avLst/>
          </a:prstGeom>
        </p:spPr>
      </p:pic>
      <p:sp>
        <p:nvSpPr>
          <p:cNvPr id="6" name="Text Placeholder 7">
            <a:extLst>
              <a:ext uri="{FF2B5EF4-FFF2-40B4-BE49-F238E27FC236}">
                <a16:creationId xmlns:a16="http://schemas.microsoft.com/office/drawing/2014/main" id="{4F8E9120-7FF1-4744-A198-62808AD32342}"/>
              </a:ext>
            </a:extLst>
          </p:cNvPr>
          <p:cNvSpPr>
            <a:spLocks noGrp="1"/>
          </p:cNvSpPr>
          <p:nvPr>
            <p:ph type="body" sz="quarter" idx="13" hasCustomPrompt="1"/>
          </p:nvPr>
        </p:nvSpPr>
        <p:spPr>
          <a:xfrm>
            <a:off x="3179763" y="5862187"/>
            <a:ext cx="5832475" cy="525135"/>
          </a:xfrm>
          <a:prstGeom prst="rect">
            <a:avLst/>
          </a:prstGeom>
        </p:spPr>
        <p:txBody>
          <a:bodyPr wrap="square" lIns="0" tIns="0" rIns="0" bIns="0"/>
          <a:lstStyle>
            <a:lvl1pPr marL="0" indent="0" algn="ctr">
              <a:lnSpc>
                <a:spcPct val="100000"/>
              </a:lnSpc>
              <a:buNone/>
              <a:defRPr sz="2000" b="0" i="0">
                <a:solidFill>
                  <a:schemeClr val="bg1"/>
                </a:solidFill>
                <a:latin typeface="Arial" charset="0"/>
                <a:ea typeface="Arial" charset="0"/>
                <a:cs typeface="Arial" charset="0"/>
              </a:defRPr>
            </a:lvl1pPr>
          </a:lstStyle>
          <a:p>
            <a:pPr lvl="0"/>
            <a:r>
              <a:rPr lang="en-US" dirty="0"/>
              <a:t>Subhead Line 1</a:t>
            </a:r>
          </a:p>
        </p:txBody>
      </p:sp>
      <p:sp>
        <p:nvSpPr>
          <p:cNvPr id="2" name="Title 1"/>
          <p:cNvSpPr>
            <a:spLocks noGrp="1"/>
          </p:cNvSpPr>
          <p:nvPr>
            <p:ph type="title"/>
          </p:nvPr>
        </p:nvSpPr>
        <p:spPr>
          <a:xfrm>
            <a:off x="1552135" y="4737099"/>
            <a:ext cx="9087730" cy="1011487"/>
          </a:xfrm>
          <a:prstGeom prst="rect">
            <a:avLst/>
          </a:prstGeom>
        </p:spPr>
        <p:txBody>
          <a:bodyPr/>
          <a:lstStyle>
            <a:lvl1pPr algn="ctr">
              <a:defRPr sz="3600" b="0" i="0">
                <a:solidFill>
                  <a:schemeClr val="bg1"/>
                </a:solidFill>
                <a:latin typeface="Cambria" charset="0"/>
                <a:ea typeface="Cambria" charset="0"/>
                <a:cs typeface="Cambria" charset="0"/>
              </a:defRPr>
            </a:lvl1pPr>
          </a:lstStyle>
          <a:p>
            <a:r>
              <a:rPr lang="en-US"/>
              <a:t>Click to edit Master title style</a:t>
            </a:r>
            <a:endParaRPr lang="en-US" dirty="0"/>
          </a:p>
        </p:txBody>
      </p:sp>
      <p:sp>
        <p:nvSpPr>
          <p:cNvPr id="12"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14457" y="6222223"/>
            <a:ext cx="1727200" cy="260593"/>
          </a:xfrm>
          <a:prstGeom prst="rect">
            <a:avLst/>
          </a:prstGeom>
        </p:spPr>
        <p:txBody>
          <a:bodyPr vert="horz" lIns="0" tIns="0" rIns="0" bIns="0" rtlCol="0" anchor="ctr"/>
          <a:lstStyle>
            <a:lvl1pPr algn="r">
              <a:defRPr sz="1100" b="0" i="0">
                <a:solidFill>
                  <a:schemeClr val="bg1"/>
                </a:solidFill>
                <a:latin typeface="+mn-lt"/>
                <a:ea typeface="Cambria" charset="0"/>
                <a:cs typeface="Cambria" charset="0"/>
              </a:defRPr>
            </a:lvl1pPr>
          </a:lstStyle>
          <a:p>
            <a:r>
              <a:rPr lang="en-US" dirty="0"/>
              <a:t>Date</a:t>
            </a:r>
          </a:p>
        </p:txBody>
      </p:sp>
    </p:spTree>
    <p:extLst>
      <p:ext uri="{BB962C8B-B14F-4D97-AF65-F5344CB8AC3E}">
        <p14:creationId xmlns:p14="http://schemas.microsoft.com/office/powerpoint/2010/main" val="38315877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graphic Cov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1466F37-6FA9-F145-AD31-68850EA0AB03}"/>
              </a:ext>
            </a:extLst>
          </p:cNvPr>
          <p:cNvPicPr>
            <a:picLocks noChangeAspect="1"/>
          </p:cNvPicPr>
          <p:nvPr userDrawn="1"/>
        </p:nvPicPr>
        <p:blipFill>
          <a:blip r:embed="rId2"/>
          <a:stretch>
            <a:fillRect/>
          </a:stretch>
        </p:blipFill>
        <p:spPr>
          <a:xfrm>
            <a:off x="0" y="1562100"/>
            <a:ext cx="12192000" cy="5295900"/>
          </a:xfrm>
          <a:prstGeom prst="rect">
            <a:avLst/>
          </a:prstGeom>
        </p:spPr>
      </p:pic>
      <p:pic>
        <p:nvPicPr>
          <p:cNvPr id="13" name="Picture 12">
            <a:extLst>
              <a:ext uri="{FF2B5EF4-FFF2-40B4-BE49-F238E27FC236}">
                <a16:creationId xmlns:a16="http://schemas.microsoft.com/office/drawing/2014/main" id="{4117C15C-1CA4-3447-B96C-74DD64F795F1}"/>
              </a:ext>
            </a:extLst>
          </p:cNvPr>
          <p:cNvPicPr>
            <a:picLocks noChangeAspect="1"/>
          </p:cNvPicPr>
          <p:nvPr userDrawn="1"/>
        </p:nvPicPr>
        <p:blipFill>
          <a:blip r:embed="rId3"/>
          <a:stretch>
            <a:fillRect/>
          </a:stretch>
        </p:blipFill>
        <p:spPr>
          <a:xfrm>
            <a:off x="515938" y="6063980"/>
            <a:ext cx="728340" cy="425720"/>
          </a:xfrm>
          <a:prstGeom prst="rect">
            <a:avLst/>
          </a:prstGeom>
        </p:spPr>
      </p:pic>
      <p:sp>
        <p:nvSpPr>
          <p:cNvPr id="6" name="Text Placeholder 7">
            <a:extLst>
              <a:ext uri="{FF2B5EF4-FFF2-40B4-BE49-F238E27FC236}">
                <a16:creationId xmlns:a16="http://schemas.microsoft.com/office/drawing/2014/main" id="{4F8E9120-7FF1-4744-A198-62808AD32342}"/>
              </a:ext>
            </a:extLst>
          </p:cNvPr>
          <p:cNvSpPr>
            <a:spLocks noGrp="1"/>
          </p:cNvSpPr>
          <p:nvPr>
            <p:ph type="body" sz="quarter" idx="13" hasCustomPrompt="1"/>
          </p:nvPr>
        </p:nvSpPr>
        <p:spPr>
          <a:xfrm>
            <a:off x="3179763" y="5862187"/>
            <a:ext cx="5832475" cy="525135"/>
          </a:xfrm>
          <a:prstGeom prst="rect">
            <a:avLst/>
          </a:prstGeom>
        </p:spPr>
        <p:txBody>
          <a:bodyPr wrap="square" lIns="0" tIns="0" rIns="0" bIns="0"/>
          <a:lstStyle>
            <a:lvl1pPr marL="0" indent="0" algn="ctr">
              <a:lnSpc>
                <a:spcPct val="100000"/>
              </a:lnSpc>
              <a:buNone/>
              <a:defRPr sz="2000" b="0" i="0">
                <a:solidFill>
                  <a:schemeClr val="tx1"/>
                </a:solidFill>
                <a:latin typeface="Arial" charset="0"/>
                <a:ea typeface="Arial" charset="0"/>
                <a:cs typeface="Arial" charset="0"/>
              </a:defRPr>
            </a:lvl1pPr>
          </a:lstStyle>
          <a:p>
            <a:pPr lvl="0"/>
            <a:r>
              <a:rPr lang="en-US" dirty="0"/>
              <a:t>Subhead Line 1</a:t>
            </a:r>
          </a:p>
        </p:txBody>
      </p:sp>
      <p:sp>
        <p:nvSpPr>
          <p:cNvPr id="2" name="Title 1"/>
          <p:cNvSpPr>
            <a:spLocks noGrp="1"/>
          </p:cNvSpPr>
          <p:nvPr>
            <p:ph type="title"/>
          </p:nvPr>
        </p:nvSpPr>
        <p:spPr>
          <a:xfrm>
            <a:off x="1552135" y="4737099"/>
            <a:ext cx="9087730" cy="1011487"/>
          </a:xfrm>
          <a:prstGeom prst="rect">
            <a:avLst/>
          </a:prstGeom>
        </p:spPr>
        <p:txBody>
          <a:bodyPr/>
          <a:lstStyle>
            <a:lvl1pPr algn="ctr">
              <a:defRPr sz="3600" b="0" i="0">
                <a:solidFill>
                  <a:schemeClr val="tx1"/>
                </a:solidFill>
                <a:latin typeface="Cambria" charset="0"/>
                <a:ea typeface="Cambria" charset="0"/>
                <a:cs typeface="Cambria" charset="0"/>
              </a:defRPr>
            </a:lvl1pPr>
          </a:lstStyle>
          <a:p>
            <a:r>
              <a:rPr lang="en-US"/>
              <a:t>Click to edit Master title style</a:t>
            </a:r>
            <a:endParaRPr lang="en-US" dirty="0"/>
          </a:p>
        </p:txBody>
      </p:sp>
      <p:sp>
        <p:nvSpPr>
          <p:cNvPr id="12"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14457" y="6222223"/>
            <a:ext cx="1727200" cy="260593"/>
          </a:xfrm>
          <a:prstGeom prst="rect">
            <a:avLst/>
          </a:prstGeom>
        </p:spPr>
        <p:txBody>
          <a:bodyPr vert="horz" lIns="0" tIns="0" rIns="0" bIns="0" rtlCol="0" anchor="ctr"/>
          <a:lstStyle>
            <a:lvl1pPr algn="r">
              <a:defRPr sz="1100" b="0" i="0">
                <a:solidFill>
                  <a:schemeClr val="tx1"/>
                </a:solidFill>
                <a:latin typeface="+mn-lt"/>
                <a:ea typeface="Cambria" charset="0"/>
                <a:cs typeface="Cambria" charset="0"/>
              </a:defRPr>
            </a:lvl1pPr>
          </a:lstStyle>
          <a:p>
            <a:r>
              <a:rPr lang="en-US" dirty="0"/>
              <a:t>Date</a:t>
            </a:r>
          </a:p>
        </p:txBody>
      </p:sp>
      <p:sp>
        <p:nvSpPr>
          <p:cNvPr id="9" name="Rectangle 8">
            <a:extLst>
              <a:ext uri="{FF2B5EF4-FFF2-40B4-BE49-F238E27FC236}">
                <a16:creationId xmlns:a16="http://schemas.microsoft.com/office/drawing/2014/main" id="{BB9968AB-77DC-3741-8F67-6C51E6D747FE}"/>
              </a:ext>
            </a:extLst>
          </p:cNvPr>
          <p:cNvSpPr/>
          <p:nvPr userDrawn="1"/>
        </p:nvSpPr>
        <p:spPr>
          <a:xfrm>
            <a:off x="0" y="6582427"/>
            <a:ext cx="12191999" cy="275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0" y="1"/>
            <a:ext cx="12192000" cy="6857999"/>
          </a:xfrm>
          <a:prstGeom prst="rect">
            <a:avLst/>
          </a:prstGeom>
          <a:noFill/>
          <a:ln w="190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Layout White">
    <p:spTree>
      <p:nvGrpSpPr>
        <p:cNvPr id="1" name=""/>
        <p:cNvGrpSpPr/>
        <p:nvPr/>
      </p:nvGrpSpPr>
      <p:grpSpPr>
        <a:xfrm>
          <a:off x="0" y="0"/>
          <a:ext cx="0" cy="0"/>
          <a:chOff x="0" y="0"/>
          <a:chExt cx="0" cy="0"/>
        </a:xfrm>
      </p:grpSpPr>
      <p:sp>
        <p:nvSpPr>
          <p:cNvPr id="9" name="Content Placeholder 8"/>
          <p:cNvSpPr>
            <a:spLocks noGrp="1"/>
          </p:cNvSpPr>
          <p:nvPr>
            <p:ph sz="quarter" idx="18"/>
          </p:nvPr>
        </p:nvSpPr>
        <p:spPr>
          <a:xfrm>
            <a:off x="515939" y="1882171"/>
            <a:ext cx="11160124" cy="4426554"/>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65975A82-7EB2-6E48-B38C-B5AEBD5D9A89}"/>
              </a:ext>
            </a:extLst>
          </p:cNvPr>
          <p:cNvSpPr>
            <a:spLocks noGrp="1" noChangeAspect="1"/>
          </p:cNvSpPr>
          <p:nvPr>
            <p:ph type="body" idx="1" hasCustomPrompt="1"/>
          </p:nvPr>
        </p:nvSpPr>
        <p:spPr>
          <a:xfrm>
            <a:off x="515938" y="1432200"/>
            <a:ext cx="11160124" cy="435600"/>
          </a:xfrm>
          <a:prstGeom prst="rect">
            <a:avLst/>
          </a:prstGeom>
        </p:spPr>
        <p:txBody>
          <a:bodyPr anchor="t" anchorCtr="0">
            <a:normAutofit/>
          </a:bodyPr>
          <a:lstStyle>
            <a:lvl1pPr marL="0" indent="0">
              <a:lnSpc>
                <a:spcPct val="100000"/>
              </a:lnSpc>
              <a:buNone/>
              <a:defRPr sz="2200" b="1" baseline="0">
                <a:solidFill>
                  <a:schemeClr val="accent6"/>
                </a:solidFill>
                <a:latin typeface="Cambria" panose="02040503050406030204"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Subhead</a:t>
            </a:r>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8"/>
            <a:ext cx="1727201" cy="261201"/>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11160125"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Layout White w/Dark Sidebar">
    <p:spTree>
      <p:nvGrpSpPr>
        <p:cNvPr id="1" name=""/>
        <p:cNvGrpSpPr/>
        <p:nvPr/>
      </p:nvGrpSpPr>
      <p:grpSpPr>
        <a:xfrm>
          <a:off x="0" y="0"/>
          <a:ext cx="0" cy="0"/>
          <a:chOff x="0" y="0"/>
          <a:chExt cx="0" cy="0"/>
        </a:xfrm>
      </p:grpSpPr>
      <p:sp>
        <p:nvSpPr>
          <p:cNvPr id="9" name="Content Placeholder 8"/>
          <p:cNvSpPr>
            <a:spLocks noGrp="1"/>
          </p:cNvSpPr>
          <p:nvPr>
            <p:ph sz="quarter" idx="18"/>
          </p:nvPr>
        </p:nvSpPr>
        <p:spPr>
          <a:xfrm>
            <a:off x="515938" y="1432200"/>
            <a:ext cx="7380287" cy="4876525"/>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a:extLst>
              <a:ext uri="{FF2B5EF4-FFF2-40B4-BE49-F238E27FC236}">
                <a16:creationId xmlns:a16="http://schemas.microsoft.com/office/drawing/2014/main" id="{FD7420B5-0C7D-8A40-916E-9DC1FF97152E}"/>
              </a:ext>
            </a:extLst>
          </p:cNvPr>
          <p:cNvSpPr/>
          <p:nvPr userDrawn="1"/>
        </p:nvSpPr>
        <p:spPr>
          <a:xfrm>
            <a:off x="0" y="6582427"/>
            <a:ext cx="12191999" cy="2755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Date Placeholder 4">
            <a:extLst>
              <a:ext uri="{FF2B5EF4-FFF2-40B4-BE49-F238E27FC236}">
                <a16:creationId xmlns:a16="http://schemas.microsoft.com/office/drawing/2014/main" id="{95453CEA-0594-AC4A-BD6E-7EB2750A8464}"/>
              </a:ext>
            </a:extLst>
          </p:cNvPr>
          <p:cNvSpPr>
            <a:spLocks noGrp="1"/>
          </p:cNvSpPr>
          <p:nvPr>
            <p:ph type="dt" sz="half" idx="10"/>
          </p:nvPr>
        </p:nvSpPr>
        <p:spPr>
          <a:xfrm>
            <a:off x="9948863" y="6596798"/>
            <a:ext cx="1727201" cy="261201"/>
          </a:xfrm>
        </p:spPr>
        <p:txBody>
          <a:bodyPr/>
          <a:lstStyle>
            <a:lvl1pPr>
              <a:defRPr>
                <a:solidFill>
                  <a:schemeClr val="accent5"/>
                </a:solidFill>
              </a:defRPr>
            </a:lvl1pPr>
          </a:lstStyle>
          <a:p>
            <a:r>
              <a:rPr lang="en-US"/>
              <a:t>Date</a:t>
            </a:r>
            <a:endParaRPr lang="en-US" dirty="0"/>
          </a:p>
        </p:txBody>
      </p:sp>
      <p:sp>
        <p:nvSpPr>
          <p:cNvPr id="15" name="Slide Number Placeholder 6">
            <a:extLst>
              <a:ext uri="{FF2B5EF4-FFF2-40B4-BE49-F238E27FC236}">
                <a16:creationId xmlns:a16="http://schemas.microsoft.com/office/drawing/2014/main" id="{3C85EFBF-591E-C04B-B78E-407F8CD2F721}"/>
              </a:ext>
            </a:extLst>
          </p:cNvPr>
          <p:cNvSpPr>
            <a:spLocks noGrp="1"/>
          </p:cNvSpPr>
          <p:nvPr>
            <p:ph type="sldNum" sz="quarter" idx="12"/>
          </p:nvPr>
        </p:nvSpPr>
        <p:spPr>
          <a:xfrm>
            <a:off x="11676063" y="6582426"/>
            <a:ext cx="515935" cy="275573"/>
          </a:xfrm>
        </p:spPr>
        <p:txBody>
          <a:bodyPr/>
          <a:lstStyle>
            <a:lvl1pPr>
              <a:defRPr>
                <a:solidFill>
                  <a:schemeClr val="accent5"/>
                </a:solidFill>
              </a:defRPr>
            </a:lvl1pPr>
          </a:lstStyle>
          <a:p>
            <a:fld id="{F9591D4C-BB8F-AE46-BE73-C616F30BBC5B}" type="slidenum">
              <a:rPr lang="en-US" smtClean="0"/>
              <a:pPr/>
              <a:t>‹#›</a:t>
            </a:fld>
            <a:endParaRPr lang="en-US" dirty="0"/>
          </a:p>
        </p:txBody>
      </p:sp>
      <p:sp>
        <p:nvSpPr>
          <p:cNvPr id="17" name="Text Placeholder 1">
            <a:extLst>
              <a:ext uri="{FF2B5EF4-FFF2-40B4-BE49-F238E27FC236}">
                <a16:creationId xmlns:a16="http://schemas.microsoft.com/office/drawing/2014/main" id="{B425B684-C025-7A40-8525-E424A3D79E9C}"/>
              </a:ext>
            </a:extLst>
          </p:cNvPr>
          <p:cNvSpPr>
            <a:spLocks noGrp="1"/>
          </p:cNvSpPr>
          <p:nvPr>
            <p:ph type="body" sz="quarter" idx="15" hasCustomPrompt="1"/>
          </p:nvPr>
        </p:nvSpPr>
        <p:spPr>
          <a:xfrm>
            <a:off x="515938" y="899161"/>
            <a:ext cx="7377597" cy="237308"/>
          </a:xfrm>
          <a:prstGeom prst="rect">
            <a:avLst/>
          </a:prstGeom>
        </p:spPr>
        <p:txBody>
          <a:bodyPr rtlCol="0"/>
          <a:lstStyle>
            <a:lvl1pPr marL="0" indent="0">
              <a:lnSpc>
                <a:spcPct val="100000"/>
              </a:lnSpc>
              <a:buNone/>
              <a:defRPr sz="1800">
                <a:solidFill>
                  <a:schemeClr val="tx2"/>
                </a:solidFill>
              </a:defRPr>
            </a:lvl1pPr>
          </a:lstStyle>
          <a:p>
            <a:pPr defTabSz="180000" fontAlgn="auto">
              <a:spcAft>
                <a:spcPts val="0"/>
              </a:spcAft>
              <a:defRPr/>
            </a:pPr>
            <a:r>
              <a:rPr lang="en-US" dirty="0"/>
              <a:t>Optional Subtitle</a:t>
            </a:r>
          </a:p>
        </p:txBody>
      </p:sp>
      <p:sp>
        <p:nvSpPr>
          <p:cNvPr id="10" name="TextBox 9">
            <a:extLst>
              <a:ext uri="{FF2B5EF4-FFF2-40B4-BE49-F238E27FC236}">
                <a16:creationId xmlns:a16="http://schemas.microsoft.com/office/drawing/2014/main" id="{ED625D71-D389-4AAD-A767-6FB8822E9777}"/>
              </a:ext>
            </a:extLst>
          </p:cNvPr>
          <p:cNvSpPr txBox="1"/>
          <p:nvPr userDrawn="1"/>
        </p:nvSpPr>
        <p:spPr>
          <a:xfrm>
            <a:off x="515938" y="6596798"/>
            <a:ext cx="1727199" cy="246221"/>
          </a:xfrm>
          <a:prstGeom prst="rect">
            <a:avLst/>
          </a:prstGeom>
          <a:noFill/>
        </p:spPr>
        <p:txBody>
          <a:bodyPr wrap="square" lIns="0" rtlCol="0">
            <a:spAutoFit/>
          </a:bodyPr>
          <a:lstStyle/>
          <a:p>
            <a:r>
              <a:rPr lang="en-US" sz="1000" b="0" dirty="0">
                <a:solidFill>
                  <a:schemeClr val="bg1"/>
                </a:solidFill>
              </a:rPr>
              <a:t>www.dlapiper.com</a:t>
            </a:r>
          </a:p>
        </p:txBody>
      </p:sp>
      <p:sp>
        <p:nvSpPr>
          <p:cNvPr id="2" name="Title 1"/>
          <p:cNvSpPr>
            <a:spLocks noGrp="1"/>
          </p:cNvSpPr>
          <p:nvPr>
            <p:ph type="title" hasCustomPrompt="1"/>
          </p:nvPr>
        </p:nvSpPr>
        <p:spPr>
          <a:xfrm>
            <a:off x="515938" y="368300"/>
            <a:ext cx="7380366" cy="577153"/>
          </a:xfrm>
        </p:spPr>
        <p:txBody>
          <a:bodyPr/>
          <a:lstStyle/>
          <a:p>
            <a:r>
              <a:rPr lang="en-US" dirty="0"/>
              <a:t>Click to edit title</a:t>
            </a:r>
          </a:p>
        </p:txBody>
      </p:sp>
      <p:sp>
        <p:nvSpPr>
          <p:cNvPr id="4" name="Footer Placeholder 3"/>
          <p:cNvSpPr>
            <a:spLocks noGrp="1"/>
          </p:cNvSpPr>
          <p:nvPr>
            <p:ph type="ftr" sz="quarter" idx="17"/>
          </p:nvPr>
        </p:nvSpPr>
        <p:spPr/>
        <p:txBody>
          <a:bodyPr/>
          <a:lstStyle>
            <a:lvl1pPr>
              <a:defRPr>
                <a:solidFill>
                  <a:schemeClr val="bg1"/>
                </a:solidFill>
              </a:defRPr>
            </a:lvl1pPr>
          </a:lstStyle>
          <a:p>
            <a:endParaRPr lang="en-US" dirty="0"/>
          </a:p>
        </p:txBody>
      </p:sp>
      <p:sp>
        <p:nvSpPr>
          <p:cNvPr id="11" name="Rectangle 10">
            <a:extLst>
              <a:ext uri="{FF2B5EF4-FFF2-40B4-BE49-F238E27FC236}">
                <a16:creationId xmlns:a16="http://schemas.microsoft.com/office/drawing/2014/main" id="{8B5C996B-0918-804B-BD4C-32A658B584F3}"/>
              </a:ext>
            </a:extLst>
          </p:cNvPr>
          <p:cNvSpPr/>
          <p:nvPr userDrawn="1"/>
        </p:nvSpPr>
        <p:spPr>
          <a:xfrm>
            <a:off x="8525690" y="0"/>
            <a:ext cx="3666309" cy="65818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35BB08A7-8085-8845-B707-4F97CCAD6E1B}"/>
              </a:ext>
            </a:extLst>
          </p:cNvPr>
          <p:cNvSpPr>
            <a:spLocks noGrp="1"/>
          </p:cNvSpPr>
          <p:nvPr>
            <p:ph type="dt" sz="half" idx="2"/>
          </p:nvPr>
        </p:nvSpPr>
        <p:spPr>
          <a:xfrm>
            <a:off x="9948864" y="6596797"/>
            <a:ext cx="1727200" cy="260593"/>
          </a:xfrm>
          <a:prstGeom prst="rect">
            <a:avLst/>
          </a:prstGeom>
        </p:spPr>
        <p:txBody>
          <a:bodyPr vert="horz" lIns="0" tIns="0" rIns="0" bIns="0" rtlCol="0" anchor="ctr"/>
          <a:lstStyle>
            <a:lvl1pPr algn="ctr">
              <a:defRPr sz="1000" b="0">
                <a:solidFill>
                  <a:schemeClr val="tx1"/>
                </a:solidFill>
              </a:defRPr>
            </a:lvl1pPr>
          </a:lstStyle>
          <a:p>
            <a:r>
              <a:rPr lang="en-US"/>
              <a:t>Date</a:t>
            </a:r>
            <a:endParaRPr lang="en-US" dirty="0"/>
          </a:p>
        </p:txBody>
      </p:sp>
      <p:sp>
        <p:nvSpPr>
          <p:cNvPr id="6" name="Slide Number Placeholder 5">
            <a:extLst>
              <a:ext uri="{FF2B5EF4-FFF2-40B4-BE49-F238E27FC236}">
                <a16:creationId xmlns:a16="http://schemas.microsoft.com/office/drawing/2014/main" id="{ED4D4C61-8619-194B-8CBC-6D26A1A8D157}"/>
              </a:ext>
            </a:extLst>
          </p:cNvPr>
          <p:cNvSpPr>
            <a:spLocks noGrp="1"/>
          </p:cNvSpPr>
          <p:nvPr>
            <p:ph type="sldNum" sz="quarter" idx="4"/>
          </p:nvPr>
        </p:nvSpPr>
        <p:spPr>
          <a:xfrm>
            <a:off x="11676064" y="6596797"/>
            <a:ext cx="515935" cy="261203"/>
          </a:xfrm>
          <a:prstGeom prst="rect">
            <a:avLst/>
          </a:prstGeom>
        </p:spPr>
        <p:txBody>
          <a:bodyPr vert="horz" lIns="0" tIns="0" rIns="0" bIns="0" rtlCol="0" anchor="ctr"/>
          <a:lstStyle>
            <a:lvl1pPr algn="ctr">
              <a:defRPr sz="1000" b="0">
                <a:solidFill>
                  <a:schemeClr val="tx1"/>
                </a:solidFill>
              </a:defRPr>
            </a:lvl1pPr>
          </a:lstStyle>
          <a:p>
            <a:fld id="{F9591D4C-BB8F-AE46-BE73-C616F30BBC5B}" type="slidenum">
              <a:rPr lang="en-US" smtClean="0"/>
              <a:pPr/>
              <a:t>‹#›</a:t>
            </a:fld>
            <a:endParaRPr lang="en-US" dirty="0"/>
          </a:p>
        </p:txBody>
      </p:sp>
      <p:sp>
        <p:nvSpPr>
          <p:cNvPr id="8" name="Title Placeholder 7">
            <a:extLst>
              <a:ext uri="{FF2B5EF4-FFF2-40B4-BE49-F238E27FC236}">
                <a16:creationId xmlns:a16="http://schemas.microsoft.com/office/drawing/2014/main" id="{CB1DE175-AEB7-854B-A8AD-D98BDA536033}"/>
              </a:ext>
            </a:extLst>
          </p:cNvPr>
          <p:cNvSpPr>
            <a:spLocks noGrp="1"/>
          </p:cNvSpPr>
          <p:nvPr>
            <p:ph type="title"/>
          </p:nvPr>
        </p:nvSpPr>
        <p:spPr>
          <a:xfrm>
            <a:off x="515939" y="368300"/>
            <a:ext cx="11160124" cy="577153"/>
          </a:xfrm>
          <a:prstGeom prst="rect">
            <a:avLst/>
          </a:prstGeom>
        </p:spPr>
        <p:txBody>
          <a:bodyPr vert="horz" lIns="0" tIns="0" rIns="0" bIns="0" rtlCol="0" anchor="t" anchorCtr="0">
            <a:noAutofit/>
          </a:body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4A36D4A1-2ACB-2340-90BD-5A606111D088}"/>
              </a:ext>
            </a:extLst>
          </p:cNvPr>
          <p:cNvSpPr>
            <a:spLocks noGrp="1"/>
          </p:cNvSpPr>
          <p:nvPr>
            <p:ph type="body" idx="1"/>
          </p:nvPr>
        </p:nvSpPr>
        <p:spPr>
          <a:xfrm>
            <a:off x="515938" y="1431925"/>
            <a:ext cx="11160127" cy="4751593"/>
          </a:xfrm>
          <a:prstGeom prst="rect">
            <a:avLst/>
          </a:prstGeom>
        </p:spPr>
        <p:txBody>
          <a:bodyPr vert="horz" lIns="0" tIns="0" rIns="0" bIns="0" spcCol="13716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3"/>
          </p:nvPr>
        </p:nvSpPr>
        <p:spPr>
          <a:xfrm>
            <a:off x="2387600" y="6596798"/>
            <a:ext cx="7416800" cy="256092"/>
          </a:xfrm>
          <a:prstGeom prst="rect">
            <a:avLst/>
          </a:prstGeom>
        </p:spPr>
        <p:txBody>
          <a:bodyPr vert="horz" lIns="91440" tIns="45720" rIns="91440" bIns="45720" rtlCol="0" anchor="ctr"/>
          <a:lstStyle>
            <a:lvl1pPr algn="l">
              <a:defRPr sz="1000">
                <a:solidFill>
                  <a:schemeClr val="tx1"/>
                </a:solidFill>
              </a:defRPr>
            </a:lvl1pPr>
          </a:lstStyle>
          <a:p>
            <a:endParaRPr lang="en-US" dirty="0"/>
          </a:p>
        </p:txBody>
      </p:sp>
      <p:sp>
        <p:nvSpPr>
          <p:cNvPr id="3" name="Rectangle 2"/>
          <p:cNvSpPr/>
          <p:nvPr userDrawn="1"/>
        </p:nvSpPr>
        <p:spPr>
          <a:xfrm>
            <a:off x="0" y="1"/>
            <a:ext cx="12192000" cy="6857999"/>
          </a:xfrm>
          <a:prstGeom prst="rect">
            <a:avLst/>
          </a:prstGeom>
          <a:noFill/>
          <a:ln w="190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34744996"/>
      </p:ext>
    </p:extLst>
  </p:cSld>
  <p:clrMap bg1="lt1" tx1="dk1" bg2="lt2" tx2="dk2" accent1="accent1" accent2="accent2" accent3="accent3" accent4="accent4" accent5="accent5" accent6="accent6" hlink="hlink" folHlink="folHlink"/>
  <p:sldLayoutIdLst>
    <p:sldLayoutId id="2147483802" r:id="rId1"/>
    <p:sldLayoutId id="2147483842" r:id="rId2"/>
    <p:sldLayoutId id="2147483841" r:id="rId3"/>
    <p:sldLayoutId id="2147483785" r:id="rId4"/>
    <p:sldLayoutId id="2147483728" r:id="rId5"/>
    <p:sldLayoutId id="2147483663" r:id="rId6"/>
    <p:sldLayoutId id="2147483759" r:id="rId7"/>
    <p:sldLayoutId id="2147483760" r:id="rId8"/>
    <p:sldLayoutId id="2147483780" r:id="rId9"/>
    <p:sldLayoutId id="2147483782" r:id="rId10"/>
    <p:sldLayoutId id="2147483761" r:id="rId11"/>
    <p:sldLayoutId id="2147483766" r:id="rId12"/>
    <p:sldLayoutId id="2147483779" r:id="rId13"/>
    <p:sldLayoutId id="2147483762" r:id="rId14"/>
    <p:sldLayoutId id="2147483781" r:id="rId15"/>
    <p:sldLayoutId id="2147483765" r:id="rId16"/>
    <p:sldLayoutId id="2147483793" r:id="rId17"/>
    <p:sldLayoutId id="2147483738" r:id="rId18"/>
    <p:sldLayoutId id="2147483787" r:id="rId19"/>
    <p:sldLayoutId id="2147483799" r:id="rId20"/>
    <p:sldLayoutId id="2147483786" r:id="rId21"/>
    <p:sldLayoutId id="2147483769" r:id="rId22"/>
    <p:sldLayoutId id="2147483768" r:id="rId23"/>
    <p:sldLayoutId id="2147483796" r:id="rId24"/>
    <p:sldLayoutId id="2147483797" r:id="rId25"/>
    <p:sldLayoutId id="2147483771" r:id="rId26"/>
    <p:sldLayoutId id="2147483770" r:id="rId27"/>
    <p:sldLayoutId id="2147483775" r:id="rId28"/>
    <p:sldLayoutId id="2147483776" r:id="rId29"/>
    <p:sldLayoutId id="2147483777" r:id="rId30"/>
    <p:sldLayoutId id="2147483778" r:id="rId31"/>
    <p:sldLayoutId id="2147483695" r:id="rId32"/>
    <p:sldLayoutId id="2147483788" r:id="rId33"/>
    <p:sldLayoutId id="2147483789" r:id="rId34"/>
    <p:sldLayoutId id="2147483794" r:id="rId35"/>
    <p:sldLayoutId id="2147483790" r:id="rId36"/>
    <p:sldLayoutId id="2147483791" r:id="rId37"/>
    <p:sldLayoutId id="2147483795" r:id="rId38"/>
    <p:sldLayoutId id="2147483800" r:id="rId39"/>
    <p:sldLayoutId id="2147483801" r:id="rId40"/>
    <p:sldLayoutId id="2147483843" r:id="rId41"/>
  </p:sldLayoutIdLst>
  <p:hf hdr="0" ftr="0" dt="0"/>
  <p:txStyles>
    <p:titleStyle>
      <a:lvl1pPr algn="l" defTabSz="914400" rtl="0" eaLnBrk="1" latinLnBrk="0" hangingPunct="1">
        <a:lnSpc>
          <a:spcPct val="90000"/>
        </a:lnSpc>
        <a:spcBef>
          <a:spcPct val="0"/>
        </a:spcBef>
        <a:buNone/>
        <a:defRPr sz="3600" kern="1200">
          <a:solidFill>
            <a:schemeClr val="tx1"/>
          </a:solidFill>
          <a:latin typeface="Cambria" panose="02040503050406030204" pitchFamily="18" charset="0"/>
          <a:ea typeface="+mj-ea"/>
          <a:cs typeface="+mj-cs"/>
        </a:defRPr>
      </a:lvl1pPr>
    </p:titleStyle>
    <p:bodyStyle>
      <a:lvl1pPr marL="230188" indent="-230188" algn="l" defTabSz="914400" rtl="0" eaLnBrk="1" latinLnBrk="0" hangingPunct="1">
        <a:lnSpc>
          <a:spcPts val="22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461963" indent="-236538" algn="l" defTabSz="914400" rtl="0" eaLnBrk="1" latinLnBrk="0" hangingPunct="1">
        <a:lnSpc>
          <a:spcPts val="2200"/>
        </a:lnSpc>
        <a:spcBef>
          <a:spcPts val="500"/>
        </a:spcBef>
        <a:buClr>
          <a:schemeClr val="bg2">
            <a:lumMod val="50000"/>
          </a:schemeClr>
        </a:buClr>
        <a:buFont typeface="Arial" panose="020B0604020202020204" pitchFamily="34" charset="0"/>
        <a:buChar char="•"/>
        <a:defRPr sz="2000" kern="1200">
          <a:solidFill>
            <a:schemeClr val="tx1"/>
          </a:solidFill>
          <a:latin typeface="+mn-lt"/>
          <a:ea typeface="+mn-ea"/>
          <a:cs typeface="+mn-cs"/>
        </a:defRPr>
      </a:lvl2pPr>
      <a:lvl3pPr marL="684213" indent="-227013" algn="l" defTabSz="914400" rtl="0" eaLnBrk="1" latinLnBrk="0" hangingPunct="1">
        <a:lnSpc>
          <a:spcPts val="2200"/>
        </a:lnSpc>
        <a:spcBef>
          <a:spcPts val="500"/>
        </a:spcBef>
        <a:buClr>
          <a:schemeClr val="bg2">
            <a:lumMod val="75000"/>
          </a:schemeClr>
        </a:buClr>
        <a:buFont typeface="Arial" panose="020B0604020202020204" pitchFamily="34" charset="0"/>
        <a:buChar char="•"/>
        <a:defRPr sz="2000" kern="1200">
          <a:solidFill>
            <a:schemeClr val="tx1"/>
          </a:solidFill>
          <a:latin typeface="+mn-lt"/>
          <a:ea typeface="+mn-ea"/>
          <a:cs typeface="+mn-cs"/>
        </a:defRPr>
      </a:lvl3pPr>
      <a:lvl4pPr marL="914400" indent="-227013" algn="l" defTabSz="914400" rtl="0" eaLnBrk="1" latinLnBrk="0" hangingPunct="1">
        <a:lnSpc>
          <a:spcPts val="2200"/>
        </a:lnSpc>
        <a:spcBef>
          <a:spcPts val="500"/>
        </a:spcBef>
        <a:buClr>
          <a:schemeClr val="bg1">
            <a:lumMod val="75000"/>
          </a:schemeClr>
        </a:buClr>
        <a:buFont typeface="Arial" panose="020B0604020202020204" pitchFamily="34" charset="0"/>
        <a:buChar char="•"/>
        <a:defRPr sz="2000" kern="1200">
          <a:solidFill>
            <a:schemeClr val="tx1"/>
          </a:solidFill>
          <a:latin typeface="+mn-lt"/>
          <a:ea typeface="+mn-ea"/>
          <a:cs typeface="+mn-cs"/>
        </a:defRPr>
      </a:lvl4pPr>
      <a:lvl5pPr marL="1144588" indent="-225425" algn="l" defTabSz="914400" rtl="0" eaLnBrk="1" latinLnBrk="0" hangingPunct="1">
        <a:lnSpc>
          <a:spcPts val="2200"/>
        </a:lnSpc>
        <a:spcBef>
          <a:spcPts val="500"/>
        </a:spcBef>
        <a:buClr>
          <a:schemeClr val="bg1">
            <a:lumMod val="75000"/>
          </a:schemeClr>
        </a:buClr>
        <a:buFont typeface="Arial" panose="020B0604020202020204" pitchFamily="34" charset="0"/>
        <a:buChar char="•"/>
        <a:defRPr sz="2000" kern="1200">
          <a:solidFill>
            <a:schemeClr val="tx1"/>
          </a:solidFill>
          <a:latin typeface="+mn-lt"/>
          <a:ea typeface="+mn-ea"/>
          <a:cs typeface="+mn-cs"/>
        </a:defRPr>
      </a:lvl5pPr>
      <a:lvl6pPr marL="1381125" indent="-233363" algn="l" defTabSz="914400" rtl="0" eaLnBrk="1" latinLnBrk="0" hangingPunct="1">
        <a:lnSpc>
          <a:spcPct val="90000"/>
        </a:lnSpc>
        <a:spcBef>
          <a:spcPts val="500"/>
        </a:spcBef>
        <a:buClr>
          <a:schemeClr val="bg1">
            <a:lumMod val="75000"/>
          </a:schemeClr>
        </a:buClr>
        <a:buFont typeface="Arial" panose="020B0604020202020204" pitchFamily="34" charset="0"/>
        <a:buChar char="•"/>
        <a:tabLst/>
        <a:defRPr sz="1800" kern="1200">
          <a:solidFill>
            <a:schemeClr val="tx1"/>
          </a:solidFill>
          <a:latin typeface="+mn-lt"/>
          <a:ea typeface="+mn-ea"/>
          <a:cs typeface="+mn-cs"/>
        </a:defRPr>
      </a:lvl6pPr>
      <a:lvl7pPr marL="1606550" indent="-233363" algn="l" defTabSz="914400" rtl="0" eaLnBrk="1" latinLnBrk="0" hangingPunct="1">
        <a:lnSpc>
          <a:spcPct val="90000"/>
        </a:lnSpc>
        <a:spcBef>
          <a:spcPts val="500"/>
        </a:spcBef>
        <a:buClr>
          <a:schemeClr val="bg1">
            <a:lumMod val="75000"/>
          </a:schemeClr>
        </a:buClr>
        <a:buFont typeface="Arial" panose="020B0604020202020204" pitchFamily="34" charset="0"/>
        <a:buChar char="•"/>
        <a:tabLst/>
        <a:defRPr sz="1800" kern="1200" baseline="0">
          <a:solidFill>
            <a:schemeClr val="tx1"/>
          </a:solidFill>
          <a:latin typeface="+mn-lt"/>
          <a:ea typeface="+mn-ea"/>
          <a:cs typeface="+mn-cs"/>
        </a:defRPr>
      </a:lvl7pPr>
      <a:lvl8pPr marL="1822450" indent="-225425" algn="l" defTabSz="914400" rtl="0" eaLnBrk="1" latinLnBrk="0" hangingPunct="1">
        <a:lnSpc>
          <a:spcPct val="90000"/>
        </a:lnSpc>
        <a:spcBef>
          <a:spcPts val="500"/>
        </a:spcBef>
        <a:buClr>
          <a:schemeClr val="bg1">
            <a:lumMod val="75000"/>
          </a:schemeClr>
        </a:buClr>
        <a:buFont typeface="Arial" panose="020B0604020202020204" pitchFamily="34" charset="0"/>
        <a:buChar char="•"/>
        <a:tabLst/>
        <a:defRPr sz="1800" kern="1200" baseline="0">
          <a:solidFill>
            <a:schemeClr val="tx1"/>
          </a:solidFill>
          <a:latin typeface="+mn-lt"/>
          <a:ea typeface="+mn-ea"/>
          <a:cs typeface="+mn-cs"/>
        </a:defRPr>
      </a:lvl8pPr>
      <a:lvl9pPr marL="1998663" indent="-169863" algn="l" defTabSz="914400" rtl="0" eaLnBrk="1" latinLnBrk="0" hangingPunct="1">
        <a:lnSpc>
          <a:spcPct val="90000"/>
        </a:lnSpc>
        <a:spcBef>
          <a:spcPts val="500"/>
        </a:spcBef>
        <a:buClr>
          <a:schemeClr val="accent5">
            <a:lumMod val="75000"/>
          </a:schemeClr>
        </a:buClr>
        <a:buFont typeface="Arial" panose="020B0604020202020204" pitchFamily="34" charset="0"/>
        <a:buChar char="•"/>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88" userDrawn="1">
          <p15:clr>
            <a:srgbClr val="A4A3A4"/>
          </p15:clr>
        </p15:guide>
        <p15:guide id="3" orient="horz" pos="232">
          <p15:clr>
            <a:srgbClr val="F26B43"/>
          </p15:clr>
        </p15:guide>
        <p15:guide id="4" pos="325" userDrawn="1">
          <p15:clr>
            <a:srgbClr val="F26B43"/>
          </p15:clr>
        </p15:guide>
        <p15:guide id="5" pos="7355" userDrawn="1">
          <p15:clr>
            <a:srgbClr val="F26B43"/>
          </p15:clr>
        </p15:guide>
        <p15:guide id="6" pos="1414" userDrawn="1">
          <p15:clr>
            <a:srgbClr val="A4A3A4"/>
          </p15:clr>
        </p15:guide>
        <p15:guide id="7" pos="1512" userDrawn="1">
          <p15:clr>
            <a:srgbClr val="A4A3A4"/>
          </p15:clr>
        </p15:guide>
        <p15:guide id="10" pos="3790" userDrawn="1">
          <p15:clr>
            <a:srgbClr val="A4A3A4"/>
          </p15:clr>
        </p15:guide>
        <p15:guide id="11" pos="4978" userDrawn="1">
          <p15:clr>
            <a:srgbClr val="A4A3A4"/>
          </p15:clr>
        </p15:guide>
        <p15:guide id="12" pos="5076" userDrawn="1">
          <p15:clr>
            <a:srgbClr val="A4A3A4"/>
          </p15:clr>
        </p15:guide>
        <p15:guide id="13" pos="6168" userDrawn="1">
          <p15:clr>
            <a:srgbClr val="A4A3A4"/>
          </p15:clr>
        </p15:guide>
        <p15:guide id="14" pos="6266" userDrawn="1">
          <p15:clr>
            <a:srgbClr val="A4A3A4"/>
          </p15:clr>
        </p15:guide>
        <p15:guide id="15" pos="2602" userDrawn="1">
          <p15:clr>
            <a:srgbClr val="A4A3A4"/>
          </p15:clr>
        </p15:guide>
        <p15:guide id="16" pos="2700" userDrawn="1">
          <p15:clr>
            <a:srgbClr val="A4A3A4"/>
          </p15:clr>
        </p15:guide>
        <p15:guide id="17" orient="horz" pos="3974">
          <p15:clr>
            <a:srgbClr val="F26B43"/>
          </p15:clr>
        </p15:guide>
        <p15:guide id="18" orient="horz" pos="9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notesSlide" Target="../notesSlides/notesSlide10.xml"/><Relationship Id="rId7" Type="http://schemas.openxmlformats.org/officeDocument/2006/relationships/image" Target="../media/image19.jpeg"/><Relationship Id="rId2" Type="http://schemas.openxmlformats.org/officeDocument/2006/relationships/slideLayout" Target="../slideLayouts/slideLayout41.xml"/><Relationship Id="rId1" Type="http://schemas.openxmlformats.org/officeDocument/2006/relationships/tags" Target="../tags/tag1.xml"/><Relationship Id="rId6" Type="http://schemas.openxmlformats.org/officeDocument/2006/relationships/image" Target="../media/image18.jpeg"/><Relationship Id="rId5" Type="http://schemas.openxmlformats.org/officeDocument/2006/relationships/image" Target="../media/image17.emf"/><Relationship Id="rId10" Type="http://schemas.openxmlformats.org/officeDocument/2006/relationships/image" Target="../media/image22.svg"/><Relationship Id="rId4" Type="http://schemas.openxmlformats.org/officeDocument/2006/relationships/oleObject" Target="../embeddings/oleObject1.bin"/><Relationship Id="rId9"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22.svg"/></Relationships>
</file>

<file path=ppt/slides/_rels/slide1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6.xml"/><Relationship Id="rId5" Type="http://schemas.openxmlformats.org/officeDocument/2006/relationships/image" Target="../media/image22.sv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diagramColors" Target="../diagrams/colors4.xml"/><Relationship Id="rId11" Type="http://schemas.openxmlformats.org/officeDocument/2006/relationships/image" Target="../media/image22.svg"/><Relationship Id="rId5" Type="http://schemas.openxmlformats.org/officeDocument/2006/relationships/diagramQuickStyle" Target="../diagrams/quickStyle4.xml"/><Relationship Id="rId10" Type="http://schemas.openxmlformats.org/officeDocument/2006/relationships/image" Target="../media/image21.png"/><Relationship Id="rId4" Type="http://schemas.openxmlformats.org/officeDocument/2006/relationships/diagramLayout" Target="../diagrams/layout4.xml"/><Relationship Id="rId9" Type="http://schemas.openxmlformats.org/officeDocument/2006/relationships/image" Target="../media/image26.sv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1.xml"/><Relationship Id="rId1" Type="http://schemas.openxmlformats.org/officeDocument/2006/relationships/slideLayout" Target="../slideLayouts/slideLayout8.xml"/><Relationship Id="rId4" Type="http://schemas.openxmlformats.org/officeDocument/2006/relationships/image" Target="../media/image22.sv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22.svg"/></Relationships>
</file>

<file path=ppt/slides/_rels/slide1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22.svg"/></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22.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image" Target="../media/image21.png"/><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 Id="rId14" Type="http://schemas.openxmlformats.org/officeDocument/2006/relationships/image" Target="../media/image22.svg"/></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7.xml"/><Relationship Id="rId1" Type="http://schemas.openxmlformats.org/officeDocument/2006/relationships/slideLayout" Target="../slideLayouts/slideLayout2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9.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28A0092B-C50C-407E-A947-70E740481C1C}">
                <a14:useLocalDpi xmlns:a14="http://schemas.microsoft.com/office/drawing/2010/main" val="0"/>
              </a:ext>
            </a:extLst>
          </a:blip>
          <a:srcRect/>
          <a:stretch>
            <a:fillRect b="17000"/>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18 April 2024</a:t>
            </a:r>
          </a:p>
        </p:txBody>
      </p:sp>
      <p:sp>
        <p:nvSpPr>
          <p:cNvPr id="3" name="Title 2"/>
          <p:cNvSpPr>
            <a:spLocks noGrp="1"/>
          </p:cNvSpPr>
          <p:nvPr>
            <p:ph type="title"/>
          </p:nvPr>
        </p:nvSpPr>
        <p:spPr>
          <a:xfrm>
            <a:off x="1191381" y="5232559"/>
            <a:ext cx="9801349" cy="551868"/>
          </a:xfrm>
        </p:spPr>
        <p:txBody>
          <a:bodyPr/>
          <a:lstStyle/>
          <a:p>
            <a:r>
              <a:rPr lang="en-US" dirty="0">
                <a:latin typeface="Cambria"/>
                <a:ea typeface="Cambria"/>
              </a:rPr>
              <a:t>Regulating in an Uncertain Future-AI and Beyond </a:t>
            </a:r>
            <a:endParaRPr lang="en-US" dirty="0"/>
          </a:p>
        </p:txBody>
      </p:sp>
    </p:spTree>
    <p:extLst>
      <p:ext uri="{BB962C8B-B14F-4D97-AF65-F5344CB8AC3E}">
        <p14:creationId xmlns:p14="http://schemas.microsoft.com/office/powerpoint/2010/main" val="1730336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AA2AC48-82AA-5062-56C2-ED08104E78E0}"/>
              </a:ext>
            </a:extLst>
          </p:cNvPr>
          <p:cNvSpPr>
            <a:spLocks noGrp="1"/>
          </p:cNvSpPr>
          <p:nvPr>
            <p:ph type="title"/>
          </p:nvPr>
        </p:nvSpPr>
        <p:spPr>
          <a:xfrm>
            <a:off x="261938" y="862906"/>
            <a:ext cx="6929816" cy="1694844"/>
          </a:xfrm>
        </p:spPr>
        <p:txBody>
          <a:bodyPr/>
          <a:lstStyle/>
          <a:p>
            <a:r>
              <a:rPr lang="en-GB" sz="5400" dirty="0">
                <a:latin typeface="Cambria"/>
                <a:ea typeface="Cambria"/>
              </a:rPr>
              <a:t>Regulating AI in the </a:t>
            </a:r>
            <a:br>
              <a:rPr lang="en-GB" sz="5400" dirty="0">
                <a:latin typeface="Cambria"/>
                <a:ea typeface="Cambria"/>
              </a:rPr>
            </a:br>
            <a:r>
              <a:rPr lang="en-GB" sz="5400" dirty="0">
                <a:solidFill>
                  <a:srgbClr val="FFFFFF"/>
                </a:solidFill>
                <a:latin typeface="Cambria"/>
                <a:ea typeface="Cambria"/>
              </a:rPr>
              <a:t>EU</a:t>
            </a:r>
          </a:p>
        </p:txBody>
      </p:sp>
      <p:sp>
        <p:nvSpPr>
          <p:cNvPr id="3" name="Slide Number Placeholder 2">
            <a:extLst>
              <a:ext uri="{FF2B5EF4-FFF2-40B4-BE49-F238E27FC236}">
                <a16:creationId xmlns:a16="http://schemas.microsoft.com/office/drawing/2014/main" id="{11BC675F-4E24-58D6-DC04-8B49B2E5B7D2}"/>
              </a:ext>
            </a:extLst>
          </p:cNvPr>
          <p:cNvSpPr>
            <a:spLocks noGrp="1"/>
          </p:cNvSpPr>
          <p:nvPr>
            <p:ph type="sldNum" sz="quarter" idx="4"/>
          </p:nvPr>
        </p:nvSpPr>
        <p:spPr/>
        <p:txBody>
          <a:bodyPr/>
          <a:lstStyle/>
          <a:p>
            <a:fld id="{F9591D4C-BB8F-AE46-BE73-C616F30BBC5B}" type="slidenum">
              <a:rPr lang="en-US" smtClean="0"/>
              <a:pPr/>
              <a:t>10</a:t>
            </a:fld>
            <a:endParaRPr lang="en-US"/>
          </a:p>
        </p:txBody>
      </p:sp>
    </p:spTree>
    <p:extLst>
      <p:ext uri="{BB962C8B-B14F-4D97-AF65-F5344CB8AC3E}">
        <p14:creationId xmlns:p14="http://schemas.microsoft.com/office/powerpoint/2010/main" val="2208936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a:extLst>
              <a:ext uri="{FF2B5EF4-FFF2-40B4-BE49-F238E27FC236}">
                <a16:creationId xmlns:a16="http://schemas.microsoft.com/office/drawing/2014/main" id="{DA48F8F3-461A-83C2-0B03-BCADF07C8772}"/>
              </a:ext>
            </a:extLst>
          </p:cNvPr>
          <p:cNvCxnSpPr>
            <a:cxnSpLocks/>
          </p:cNvCxnSpPr>
          <p:nvPr/>
        </p:nvCxnSpPr>
        <p:spPr>
          <a:xfrm>
            <a:off x="4289012" y="2717980"/>
            <a:ext cx="576072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1DC600EA-6718-DCFE-32E7-E20B1A56FB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1DC600EA-6718-DCFE-32E7-E20B1A56FB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Slide Number Placeholder 1">
            <a:extLst>
              <a:ext uri="{FF2B5EF4-FFF2-40B4-BE49-F238E27FC236}">
                <a16:creationId xmlns:a16="http://schemas.microsoft.com/office/drawing/2014/main" id="{BE4EF70A-C28A-5287-A192-3FCE1C1E057D}"/>
              </a:ext>
            </a:extLst>
          </p:cNvPr>
          <p:cNvSpPr txBox="1">
            <a:spLocks/>
          </p:cNvSpPr>
          <p:nvPr/>
        </p:nvSpPr>
        <p:spPr>
          <a:xfrm>
            <a:off x="11568113" y="6532834"/>
            <a:ext cx="368963" cy="177002"/>
          </a:xfrm>
          <a:prstGeom prst="rect">
            <a:avLst/>
          </a:prstGeom>
        </p:spPr>
        <p:txBody>
          <a:bodyPr vert="horz" lIns="91440" tIns="45720" rIns="0" bIns="45720" rtlCol="0" anchor="ctr">
            <a:noAutofit/>
          </a:bodyPr>
          <a:lstStyle>
            <a:defPPr>
              <a:defRPr lang="en-US"/>
            </a:defPPr>
            <a:lvl1pPr marL="0" indent="0" algn="r" defTabSz="554492" rtl="0" eaLnBrk="1" latinLnBrk="0" hangingPunct="1">
              <a:tabLst/>
              <a:defRPr lang="en-AU" sz="1092" kern="1200" smtClean="0">
                <a:solidFill>
                  <a:schemeClr val="tx1"/>
                </a:solidFill>
                <a:latin typeface="+mj-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a:lstStyle>
          <a:p>
            <a:pPr marL="0" marR="0" lvl="0" indent="0" algn="r" defTabSz="554492" rtl="0" eaLnBrk="1" fontAlgn="auto" latinLnBrk="0" hangingPunct="1">
              <a:lnSpc>
                <a:spcPct val="100000"/>
              </a:lnSpc>
              <a:spcBef>
                <a:spcPts val="0"/>
              </a:spcBef>
              <a:spcAft>
                <a:spcPts val="0"/>
              </a:spcAft>
              <a:buClrTx/>
              <a:buSzTx/>
              <a:buFontTx/>
              <a:buNone/>
              <a:tabLst/>
              <a:defRPr/>
            </a:pPr>
            <a:r>
              <a:rPr lang="en-AU" dirty="0">
                <a:solidFill>
                  <a:prstClr val="black"/>
                </a:solidFill>
                <a:latin typeface="Cambria"/>
              </a:rPr>
              <a:t>2</a:t>
            </a:r>
            <a:endParaRPr kumimoji="0" lang="en-AU" sz="1092" b="0" i="0" u="none" strike="noStrike" kern="1200" cap="none" spc="0" normalizeH="0" baseline="0" noProof="0" dirty="0">
              <a:ln>
                <a:noFill/>
              </a:ln>
              <a:solidFill>
                <a:prstClr val="black"/>
              </a:solidFill>
              <a:effectLst/>
              <a:uLnTx/>
              <a:uFillTx/>
              <a:latin typeface="Cambria"/>
              <a:ea typeface="+mn-ea"/>
              <a:cs typeface="+mn-cs"/>
            </a:endParaRPr>
          </a:p>
        </p:txBody>
      </p:sp>
      <p:grpSp>
        <p:nvGrpSpPr>
          <p:cNvPr id="58" name="Group 57">
            <a:extLst>
              <a:ext uri="{FF2B5EF4-FFF2-40B4-BE49-F238E27FC236}">
                <a16:creationId xmlns:a16="http://schemas.microsoft.com/office/drawing/2014/main" id="{15C58876-C987-4CA6-B208-4A67EE2AFA8E}"/>
              </a:ext>
            </a:extLst>
          </p:cNvPr>
          <p:cNvGrpSpPr/>
          <p:nvPr/>
        </p:nvGrpSpPr>
        <p:grpSpPr>
          <a:xfrm>
            <a:off x="2014726" y="2491804"/>
            <a:ext cx="638481" cy="575760"/>
            <a:chOff x="6442942" y="7799440"/>
            <a:chExt cx="368343" cy="368526"/>
          </a:xfrm>
          <a:solidFill>
            <a:schemeClr val="bg1"/>
          </a:solidFill>
        </p:grpSpPr>
        <p:sp>
          <p:nvSpPr>
            <p:cNvPr id="59" name="Freeform: Shape 58">
              <a:extLst>
                <a:ext uri="{FF2B5EF4-FFF2-40B4-BE49-F238E27FC236}">
                  <a16:creationId xmlns:a16="http://schemas.microsoft.com/office/drawing/2014/main" id="{6417C7A7-911A-47CF-9ED4-8E3BB502AAA7}"/>
                </a:ext>
              </a:extLst>
            </p:cNvPr>
            <p:cNvSpPr/>
            <p:nvPr/>
          </p:nvSpPr>
          <p:spPr>
            <a:xfrm>
              <a:off x="6442942" y="7938689"/>
              <a:ext cx="227001" cy="229277"/>
            </a:xfrm>
            <a:custGeom>
              <a:avLst/>
              <a:gdLst>
                <a:gd name="connsiteX0" fmla="*/ 189082 w 227001"/>
                <a:gd name="connsiteY0" fmla="*/ 133360 h 229277"/>
                <a:gd name="connsiteX1" fmla="*/ 188415 w 227001"/>
                <a:gd name="connsiteY1" fmla="*/ 135742 h 229277"/>
                <a:gd name="connsiteX2" fmla="*/ 176318 w 227001"/>
                <a:gd name="connsiteY2" fmla="*/ 161364 h 229277"/>
                <a:gd name="connsiteX3" fmla="*/ 174890 w 227001"/>
                <a:gd name="connsiteY3" fmla="*/ 163364 h 229277"/>
                <a:gd name="connsiteX4" fmla="*/ 176318 w 227001"/>
                <a:gd name="connsiteY4" fmla="*/ 165364 h 229277"/>
                <a:gd name="connsiteX5" fmla="*/ 191749 w 227001"/>
                <a:gd name="connsiteY5" fmla="*/ 187081 h 229277"/>
                <a:gd name="connsiteX6" fmla="*/ 184319 w 227001"/>
                <a:gd name="connsiteY6" fmla="*/ 195273 h 229277"/>
                <a:gd name="connsiteX7" fmla="*/ 175556 w 227001"/>
                <a:gd name="connsiteY7" fmla="*/ 201750 h 229277"/>
                <a:gd name="connsiteX8" fmla="*/ 155840 w 227001"/>
                <a:gd name="connsiteY8" fmla="*/ 183938 h 229277"/>
                <a:gd name="connsiteX9" fmla="*/ 154030 w 227001"/>
                <a:gd name="connsiteY9" fmla="*/ 182319 h 229277"/>
                <a:gd name="connsiteX10" fmla="*/ 151839 w 227001"/>
                <a:gd name="connsiteY10" fmla="*/ 183557 h 229277"/>
                <a:gd name="connsiteX11" fmla="*/ 124978 w 227001"/>
                <a:gd name="connsiteY11" fmla="*/ 192987 h 229277"/>
                <a:gd name="connsiteX12" fmla="*/ 122502 w 227001"/>
                <a:gd name="connsiteY12" fmla="*/ 193368 h 229277"/>
                <a:gd name="connsiteX13" fmla="*/ 122121 w 227001"/>
                <a:gd name="connsiteY13" fmla="*/ 195844 h 229277"/>
                <a:gd name="connsiteX14" fmla="*/ 117835 w 227001"/>
                <a:gd name="connsiteY14" fmla="*/ 221943 h 229277"/>
                <a:gd name="connsiteX15" fmla="*/ 106976 w 227001"/>
                <a:gd name="connsiteY15" fmla="*/ 222419 h 229277"/>
                <a:gd name="connsiteX16" fmla="*/ 96118 w 227001"/>
                <a:gd name="connsiteY16" fmla="*/ 220800 h 229277"/>
                <a:gd name="connsiteX17" fmla="*/ 94689 w 227001"/>
                <a:gd name="connsiteY17" fmla="*/ 194225 h 229277"/>
                <a:gd name="connsiteX18" fmla="*/ 94594 w 227001"/>
                <a:gd name="connsiteY18" fmla="*/ 191749 h 229277"/>
                <a:gd name="connsiteX19" fmla="*/ 92212 w 227001"/>
                <a:gd name="connsiteY19" fmla="*/ 191082 h 229277"/>
                <a:gd name="connsiteX20" fmla="*/ 66686 w 227001"/>
                <a:gd name="connsiteY20" fmla="*/ 178509 h 229277"/>
                <a:gd name="connsiteX21" fmla="*/ 64685 w 227001"/>
                <a:gd name="connsiteY21" fmla="*/ 176985 h 229277"/>
                <a:gd name="connsiteX22" fmla="*/ 62685 w 227001"/>
                <a:gd name="connsiteY22" fmla="*/ 178509 h 229277"/>
                <a:gd name="connsiteX23" fmla="*/ 41349 w 227001"/>
                <a:gd name="connsiteY23" fmla="*/ 193939 h 229277"/>
                <a:gd name="connsiteX24" fmla="*/ 33253 w 227001"/>
                <a:gd name="connsiteY24" fmla="*/ 186510 h 229277"/>
                <a:gd name="connsiteX25" fmla="*/ 26871 w 227001"/>
                <a:gd name="connsiteY25" fmla="*/ 177652 h 229277"/>
                <a:gd name="connsiteX26" fmla="*/ 44683 w 227001"/>
                <a:gd name="connsiteY26" fmla="*/ 157649 h 229277"/>
                <a:gd name="connsiteX27" fmla="*/ 46302 w 227001"/>
                <a:gd name="connsiteY27" fmla="*/ 155935 h 229277"/>
                <a:gd name="connsiteX28" fmla="*/ 45159 w 227001"/>
                <a:gd name="connsiteY28" fmla="*/ 153744 h 229277"/>
                <a:gd name="connsiteX29" fmla="*/ 36206 w 227001"/>
                <a:gd name="connsiteY29" fmla="*/ 126883 h 229277"/>
                <a:gd name="connsiteX30" fmla="*/ 35824 w 227001"/>
                <a:gd name="connsiteY30" fmla="*/ 124407 h 229277"/>
                <a:gd name="connsiteX31" fmla="*/ 33348 w 227001"/>
                <a:gd name="connsiteY31" fmla="*/ 124026 h 229277"/>
                <a:gd name="connsiteX32" fmla="*/ 7059 w 227001"/>
                <a:gd name="connsiteY32" fmla="*/ 119644 h 229277"/>
                <a:gd name="connsiteX33" fmla="*/ 6583 w 227001"/>
                <a:gd name="connsiteY33" fmla="*/ 108595 h 229277"/>
                <a:gd name="connsiteX34" fmla="*/ 8297 w 227001"/>
                <a:gd name="connsiteY34" fmla="*/ 97737 h 229277"/>
                <a:gd name="connsiteX35" fmla="*/ 35444 w 227001"/>
                <a:gd name="connsiteY35" fmla="*/ 96308 h 229277"/>
                <a:gd name="connsiteX36" fmla="*/ 37825 w 227001"/>
                <a:gd name="connsiteY36" fmla="*/ 96213 h 229277"/>
                <a:gd name="connsiteX37" fmla="*/ 38491 w 227001"/>
                <a:gd name="connsiteY37" fmla="*/ 93832 h 229277"/>
                <a:gd name="connsiteX38" fmla="*/ 50684 w 227001"/>
                <a:gd name="connsiteY38" fmla="*/ 68781 h 229277"/>
                <a:gd name="connsiteX39" fmla="*/ 52207 w 227001"/>
                <a:gd name="connsiteY39" fmla="*/ 66781 h 229277"/>
                <a:gd name="connsiteX40" fmla="*/ 50684 w 227001"/>
                <a:gd name="connsiteY40" fmla="*/ 64780 h 229277"/>
                <a:gd name="connsiteX41" fmla="*/ 34872 w 227001"/>
                <a:gd name="connsiteY41" fmla="*/ 42492 h 229277"/>
                <a:gd name="connsiteX42" fmla="*/ 42302 w 227001"/>
                <a:gd name="connsiteY42" fmla="*/ 34396 h 229277"/>
                <a:gd name="connsiteX43" fmla="*/ 51160 w 227001"/>
                <a:gd name="connsiteY43" fmla="*/ 27919 h 229277"/>
                <a:gd name="connsiteX44" fmla="*/ 71543 w 227001"/>
                <a:gd name="connsiteY44" fmla="*/ 46492 h 229277"/>
                <a:gd name="connsiteX45" fmla="*/ 73353 w 227001"/>
                <a:gd name="connsiteY45" fmla="*/ 48207 h 229277"/>
                <a:gd name="connsiteX46" fmla="*/ 75544 w 227001"/>
                <a:gd name="connsiteY46" fmla="*/ 46969 h 229277"/>
                <a:gd name="connsiteX47" fmla="*/ 101452 w 227001"/>
                <a:gd name="connsiteY47" fmla="*/ 38015 h 229277"/>
                <a:gd name="connsiteX48" fmla="*/ 103928 w 227001"/>
                <a:gd name="connsiteY48" fmla="*/ 37634 h 229277"/>
                <a:gd name="connsiteX49" fmla="*/ 104309 w 227001"/>
                <a:gd name="connsiteY49" fmla="*/ 35158 h 229277"/>
                <a:gd name="connsiteX50" fmla="*/ 108691 w 227001"/>
                <a:gd name="connsiteY50" fmla="*/ 7821 h 229277"/>
                <a:gd name="connsiteX51" fmla="*/ 119644 w 227001"/>
                <a:gd name="connsiteY51" fmla="*/ 7345 h 229277"/>
                <a:gd name="connsiteX52" fmla="*/ 130408 w 227001"/>
                <a:gd name="connsiteY52" fmla="*/ 8964 h 229277"/>
                <a:gd name="connsiteX53" fmla="*/ 131836 w 227001"/>
                <a:gd name="connsiteY53" fmla="*/ 36777 h 229277"/>
                <a:gd name="connsiteX54" fmla="*/ 131932 w 227001"/>
                <a:gd name="connsiteY54" fmla="*/ 39253 h 229277"/>
                <a:gd name="connsiteX55" fmla="*/ 134313 w 227001"/>
                <a:gd name="connsiteY55" fmla="*/ 39920 h 229277"/>
                <a:gd name="connsiteX56" fmla="*/ 158983 w 227001"/>
                <a:gd name="connsiteY56" fmla="*/ 51922 h 229277"/>
                <a:gd name="connsiteX57" fmla="*/ 160983 w 227001"/>
                <a:gd name="connsiteY57" fmla="*/ 53446 h 229277"/>
                <a:gd name="connsiteX58" fmla="*/ 162983 w 227001"/>
                <a:gd name="connsiteY58" fmla="*/ 51922 h 229277"/>
                <a:gd name="connsiteX59" fmla="*/ 185081 w 227001"/>
                <a:gd name="connsiteY59" fmla="*/ 35920 h 229277"/>
                <a:gd name="connsiteX60" fmla="*/ 193178 w 227001"/>
                <a:gd name="connsiteY60" fmla="*/ 43349 h 229277"/>
                <a:gd name="connsiteX61" fmla="*/ 199559 w 227001"/>
                <a:gd name="connsiteY61" fmla="*/ 52207 h 229277"/>
                <a:gd name="connsiteX62" fmla="*/ 181366 w 227001"/>
                <a:gd name="connsiteY62" fmla="*/ 72686 h 229277"/>
                <a:gd name="connsiteX63" fmla="*/ 179652 w 227001"/>
                <a:gd name="connsiteY63" fmla="*/ 74496 h 229277"/>
                <a:gd name="connsiteX64" fmla="*/ 180890 w 227001"/>
                <a:gd name="connsiteY64" fmla="*/ 76687 h 229277"/>
                <a:gd name="connsiteX65" fmla="*/ 190034 w 227001"/>
                <a:gd name="connsiteY65" fmla="*/ 103071 h 229277"/>
                <a:gd name="connsiteX66" fmla="*/ 190415 w 227001"/>
                <a:gd name="connsiteY66" fmla="*/ 105547 h 229277"/>
                <a:gd name="connsiteX67" fmla="*/ 192797 w 227001"/>
                <a:gd name="connsiteY67" fmla="*/ 105833 h 229277"/>
                <a:gd name="connsiteX68" fmla="*/ 219371 w 227001"/>
                <a:gd name="connsiteY68" fmla="*/ 110310 h 229277"/>
                <a:gd name="connsiteX69" fmla="*/ 219847 w 227001"/>
                <a:gd name="connsiteY69" fmla="*/ 121359 h 229277"/>
                <a:gd name="connsiteX70" fmla="*/ 218133 w 227001"/>
                <a:gd name="connsiteY70" fmla="*/ 132217 h 229277"/>
                <a:gd name="connsiteX71" fmla="*/ 191368 w 227001"/>
                <a:gd name="connsiteY71" fmla="*/ 133646 h 229277"/>
                <a:gd name="connsiteX72" fmla="*/ 189082 w 227001"/>
                <a:gd name="connsiteY72" fmla="*/ 133360 h 229277"/>
                <a:gd name="connsiteX73" fmla="*/ 225086 w 227001"/>
                <a:gd name="connsiteY73" fmla="*/ 104023 h 229277"/>
                <a:gd name="connsiteX74" fmla="*/ 222895 w 227001"/>
                <a:gd name="connsiteY74" fmla="*/ 103642 h 229277"/>
                <a:gd name="connsiteX75" fmla="*/ 196321 w 227001"/>
                <a:gd name="connsiteY75" fmla="*/ 99166 h 229277"/>
                <a:gd name="connsiteX76" fmla="*/ 187939 w 227001"/>
                <a:gd name="connsiteY76" fmla="*/ 75163 h 229277"/>
                <a:gd name="connsiteX77" fmla="*/ 206036 w 227001"/>
                <a:gd name="connsiteY77" fmla="*/ 54684 h 229277"/>
                <a:gd name="connsiteX78" fmla="*/ 207846 w 227001"/>
                <a:gd name="connsiteY78" fmla="*/ 52874 h 229277"/>
                <a:gd name="connsiteX79" fmla="*/ 206703 w 227001"/>
                <a:gd name="connsiteY79" fmla="*/ 50683 h 229277"/>
                <a:gd name="connsiteX80" fmla="*/ 198226 w 227001"/>
                <a:gd name="connsiteY80" fmla="*/ 38396 h 229277"/>
                <a:gd name="connsiteX81" fmla="*/ 186986 w 227001"/>
                <a:gd name="connsiteY81" fmla="*/ 28490 h 229277"/>
                <a:gd name="connsiteX82" fmla="*/ 184891 w 227001"/>
                <a:gd name="connsiteY82" fmla="*/ 27347 h 229277"/>
                <a:gd name="connsiteX83" fmla="*/ 183081 w 227001"/>
                <a:gd name="connsiteY83" fmla="*/ 28681 h 229277"/>
                <a:gd name="connsiteX84" fmla="*/ 160888 w 227001"/>
                <a:gd name="connsiteY84" fmla="*/ 44683 h 229277"/>
                <a:gd name="connsiteX85" fmla="*/ 138504 w 227001"/>
                <a:gd name="connsiteY85" fmla="*/ 33729 h 229277"/>
                <a:gd name="connsiteX86" fmla="*/ 136980 w 227001"/>
                <a:gd name="connsiteY86" fmla="*/ 5916 h 229277"/>
                <a:gd name="connsiteX87" fmla="*/ 136980 w 227001"/>
                <a:gd name="connsiteY87" fmla="*/ 3344 h 229277"/>
                <a:gd name="connsiteX88" fmla="*/ 134599 w 227001"/>
                <a:gd name="connsiteY88" fmla="*/ 2677 h 229277"/>
                <a:gd name="connsiteX89" fmla="*/ 120026 w 227001"/>
                <a:gd name="connsiteY89" fmla="*/ 106 h 229277"/>
                <a:gd name="connsiteX90" fmla="*/ 105166 w 227001"/>
                <a:gd name="connsiteY90" fmla="*/ 1058 h 229277"/>
                <a:gd name="connsiteX91" fmla="*/ 102976 w 227001"/>
                <a:gd name="connsiteY91" fmla="*/ 1725 h 229277"/>
                <a:gd name="connsiteX92" fmla="*/ 102595 w 227001"/>
                <a:gd name="connsiteY92" fmla="*/ 3916 h 229277"/>
                <a:gd name="connsiteX93" fmla="*/ 98023 w 227001"/>
                <a:gd name="connsiteY93" fmla="*/ 31252 h 229277"/>
                <a:gd name="connsiteX94" fmla="*/ 74496 w 227001"/>
                <a:gd name="connsiteY94" fmla="*/ 39349 h 229277"/>
                <a:gd name="connsiteX95" fmla="*/ 54017 w 227001"/>
                <a:gd name="connsiteY95" fmla="*/ 20870 h 229277"/>
                <a:gd name="connsiteX96" fmla="*/ 52207 w 227001"/>
                <a:gd name="connsiteY96" fmla="*/ 19060 h 229277"/>
                <a:gd name="connsiteX97" fmla="*/ 50017 w 227001"/>
                <a:gd name="connsiteY97" fmla="*/ 20203 h 229277"/>
                <a:gd name="connsiteX98" fmla="*/ 37920 w 227001"/>
                <a:gd name="connsiteY98" fmla="*/ 28776 h 229277"/>
                <a:gd name="connsiteX99" fmla="*/ 28109 w 227001"/>
                <a:gd name="connsiteY99" fmla="*/ 40111 h 229277"/>
                <a:gd name="connsiteX100" fmla="*/ 26966 w 227001"/>
                <a:gd name="connsiteY100" fmla="*/ 42111 h 229277"/>
                <a:gd name="connsiteX101" fmla="*/ 28205 w 227001"/>
                <a:gd name="connsiteY101" fmla="*/ 44016 h 229277"/>
                <a:gd name="connsiteX102" fmla="*/ 43921 w 227001"/>
                <a:gd name="connsiteY102" fmla="*/ 66304 h 229277"/>
                <a:gd name="connsiteX103" fmla="*/ 32777 w 227001"/>
                <a:gd name="connsiteY103" fmla="*/ 89164 h 229277"/>
                <a:gd name="connsiteX104" fmla="*/ 5726 w 227001"/>
                <a:gd name="connsiteY104" fmla="*/ 90688 h 229277"/>
                <a:gd name="connsiteX105" fmla="*/ 3249 w 227001"/>
                <a:gd name="connsiteY105" fmla="*/ 90784 h 229277"/>
                <a:gd name="connsiteX106" fmla="*/ 2582 w 227001"/>
                <a:gd name="connsiteY106" fmla="*/ 93165 h 229277"/>
                <a:gd name="connsiteX107" fmla="*/ 106 w 227001"/>
                <a:gd name="connsiteY107" fmla="*/ 107929 h 229277"/>
                <a:gd name="connsiteX108" fmla="*/ 1058 w 227001"/>
                <a:gd name="connsiteY108" fmla="*/ 122978 h 229277"/>
                <a:gd name="connsiteX109" fmla="*/ 1725 w 227001"/>
                <a:gd name="connsiteY109" fmla="*/ 125264 h 229277"/>
                <a:gd name="connsiteX110" fmla="*/ 3916 w 227001"/>
                <a:gd name="connsiteY110" fmla="*/ 125645 h 229277"/>
                <a:gd name="connsiteX111" fmla="*/ 30205 w 227001"/>
                <a:gd name="connsiteY111" fmla="*/ 130122 h 229277"/>
                <a:gd name="connsiteX112" fmla="*/ 38396 w 227001"/>
                <a:gd name="connsiteY112" fmla="*/ 154696 h 229277"/>
                <a:gd name="connsiteX113" fmla="*/ 20489 w 227001"/>
                <a:gd name="connsiteY113" fmla="*/ 174985 h 229277"/>
                <a:gd name="connsiteX114" fmla="*/ 19061 w 227001"/>
                <a:gd name="connsiteY114" fmla="*/ 176794 h 229277"/>
                <a:gd name="connsiteX115" fmla="*/ 20108 w 227001"/>
                <a:gd name="connsiteY115" fmla="*/ 178795 h 229277"/>
                <a:gd name="connsiteX116" fmla="*/ 28681 w 227001"/>
                <a:gd name="connsiteY116" fmla="*/ 191082 h 229277"/>
                <a:gd name="connsiteX117" fmla="*/ 39920 w 227001"/>
                <a:gd name="connsiteY117" fmla="*/ 200988 h 229277"/>
                <a:gd name="connsiteX118" fmla="*/ 41920 w 227001"/>
                <a:gd name="connsiteY118" fmla="*/ 202131 h 229277"/>
                <a:gd name="connsiteX119" fmla="*/ 43730 w 227001"/>
                <a:gd name="connsiteY119" fmla="*/ 200797 h 229277"/>
                <a:gd name="connsiteX120" fmla="*/ 65066 w 227001"/>
                <a:gd name="connsiteY120" fmla="*/ 185462 h 229277"/>
                <a:gd name="connsiteX121" fmla="*/ 88403 w 227001"/>
                <a:gd name="connsiteY121" fmla="*/ 196987 h 229277"/>
                <a:gd name="connsiteX122" fmla="*/ 89927 w 227001"/>
                <a:gd name="connsiteY122" fmla="*/ 223086 h 229277"/>
                <a:gd name="connsiteX123" fmla="*/ 90403 w 227001"/>
                <a:gd name="connsiteY123" fmla="*/ 225753 h 229277"/>
                <a:gd name="connsiteX124" fmla="*/ 92403 w 227001"/>
                <a:gd name="connsiteY124" fmla="*/ 226705 h 229277"/>
                <a:gd name="connsiteX125" fmla="*/ 106976 w 227001"/>
                <a:gd name="connsiteY125" fmla="*/ 229277 h 229277"/>
                <a:gd name="connsiteX126" fmla="*/ 110405 w 227001"/>
                <a:gd name="connsiteY126" fmla="*/ 229277 h 229277"/>
                <a:gd name="connsiteX127" fmla="*/ 121835 w 227001"/>
                <a:gd name="connsiteY127" fmla="*/ 228229 h 229277"/>
                <a:gd name="connsiteX128" fmla="*/ 124121 w 227001"/>
                <a:gd name="connsiteY128" fmla="*/ 227658 h 229277"/>
                <a:gd name="connsiteX129" fmla="*/ 124502 w 227001"/>
                <a:gd name="connsiteY129" fmla="*/ 225372 h 229277"/>
                <a:gd name="connsiteX130" fmla="*/ 128789 w 227001"/>
                <a:gd name="connsiteY130" fmla="*/ 199273 h 229277"/>
                <a:gd name="connsiteX131" fmla="*/ 153363 w 227001"/>
                <a:gd name="connsiteY131" fmla="*/ 190701 h 229277"/>
                <a:gd name="connsiteX132" fmla="*/ 172794 w 227001"/>
                <a:gd name="connsiteY132" fmla="*/ 208227 h 229277"/>
                <a:gd name="connsiteX133" fmla="*/ 174509 w 227001"/>
                <a:gd name="connsiteY133" fmla="*/ 208989 h 229277"/>
                <a:gd name="connsiteX134" fmla="*/ 176985 w 227001"/>
                <a:gd name="connsiteY134" fmla="*/ 209084 h 229277"/>
                <a:gd name="connsiteX135" fmla="*/ 189082 w 227001"/>
                <a:gd name="connsiteY135" fmla="*/ 200512 h 229277"/>
                <a:gd name="connsiteX136" fmla="*/ 198702 w 227001"/>
                <a:gd name="connsiteY136" fmla="*/ 189367 h 229277"/>
                <a:gd name="connsiteX137" fmla="*/ 199273 w 227001"/>
                <a:gd name="connsiteY137" fmla="*/ 187177 h 229277"/>
                <a:gd name="connsiteX138" fmla="*/ 198797 w 227001"/>
                <a:gd name="connsiteY138" fmla="*/ 185272 h 229277"/>
                <a:gd name="connsiteX139" fmla="*/ 183462 w 227001"/>
                <a:gd name="connsiteY139" fmla="*/ 163555 h 229277"/>
                <a:gd name="connsiteX140" fmla="*/ 194511 w 227001"/>
                <a:gd name="connsiteY140" fmla="*/ 140218 h 229277"/>
                <a:gd name="connsiteX141" fmla="*/ 221657 w 227001"/>
                <a:gd name="connsiteY141" fmla="*/ 138599 h 229277"/>
                <a:gd name="connsiteX142" fmla="*/ 223943 w 227001"/>
                <a:gd name="connsiteY142" fmla="*/ 138028 h 229277"/>
                <a:gd name="connsiteX143" fmla="*/ 224419 w 227001"/>
                <a:gd name="connsiteY143" fmla="*/ 136218 h 229277"/>
                <a:gd name="connsiteX144" fmla="*/ 226896 w 227001"/>
                <a:gd name="connsiteY144" fmla="*/ 121549 h 229277"/>
                <a:gd name="connsiteX145" fmla="*/ 225944 w 227001"/>
                <a:gd name="connsiteY145" fmla="*/ 106595 h 229277"/>
                <a:gd name="connsiteX146" fmla="*/ 225086 w 227001"/>
                <a:gd name="connsiteY146" fmla="*/ 104023 h 22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227001" h="229277">
                  <a:moveTo>
                    <a:pt x="189082" y="133360"/>
                  </a:moveTo>
                  <a:lnTo>
                    <a:pt x="188415" y="135742"/>
                  </a:lnTo>
                  <a:cubicBezTo>
                    <a:pt x="185939" y="144981"/>
                    <a:pt x="181938" y="153649"/>
                    <a:pt x="176318" y="161364"/>
                  </a:cubicBezTo>
                  <a:lnTo>
                    <a:pt x="174890" y="163364"/>
                  </a:lnTo>
                  <a:lnTo>
                    <a:pt x="176318" y="165364"/>
                  </a:lnTo>
                  <a:cubicBezTo>
                    <a:pt x="181748" y="172699"/>
                    <a:pt x="186891" y="180033"/>
                    <a:pt x="191749" y="187081"/>
                  </a:cubicBezTo>
                  <a:cubicBezTo>
                    <a:pt x="189463" y="190129"/>
                    <a:pt x="187082" y="192701"/>
                    <a:pt x="184319" y="195273"/>
                  </a:cubicBezTo>
                  <a:cubicBezTo>
                    <a:pt x="181652" y="197654"/>
                    <a:pt x="178795" y="199750"/>
                    <a:pt x="175556" y="201750"/>
                  </a:cubicBezTo>
                  <a:cubicBezTo>
                    <a:pt x="169079" y="196035"/>
                    <a:pt x="162412" y="190034"/>
                    <a:pt x="155840" y="183938"/>
                  </a:cubicBezTo>
                  <a:lnTo>
                    <a:pt x="154030" y="182319"/>
                  </a:lnTo>
                  <a:lnTo>
                    <a:pt x="151839" y="183557"/>
                  </a:lnTo>
                  <a:cubicBezTo>
                    <a:pt x="143552" y="188320"/>
                    <a:pt x="134503" y="191463"/>
                    <a:pt x="124978" y="192987"/>
                  </a:cubicBezTo>
                  <a:lnTo>
                    <a:pt x="122502" y="193368"/>
                  </a:lnTo>
                  <a:lnTo>
                    <a:pt x="122121" y="195844"/>
                  </a:lnTo>
                  <a:cubicBezTo>
                    <a:pt x="120787" y="204798"/>
                    <a:pt x="119359" y="213561"/>
                    <a:pt x="117835" y="221943"/>
                  </a:cubicBezTo>
                  <a:cubicBezTo>
                    <a:pt x="114120" y="222419"/>
                    <a:pt x="110501" y="222610"/>
                    <a:pt x="106976" y="222419"/>
                  </a:cubicBezTo>
                  <a:cubicBezTo>
                    <a:pt x="103357" y="222229"/>
                    <a:pt x="99737" y="221657"/>
                    <a:pt x="96118" y="220800"/>
                  </a:cubicBezTo>
                  <a:cubicBezTo>
                    <a:pt x="95546" y="212037"/>
                    <a:pt x="95070" y="203083"/>
                    <a:pt x="94689" y="194225"/>
                  </a:cubicBezTo>
                  <a:lnTo>
                    <a:pt x="94594" y="191749"/>
                  </a:lnTo>
                  <a:lnTo>
                    <a:pt x="92212" y="191082"/>
                  </a:lnTo>
                  <a:cubicBezTo>
                    <a:pt x="82973" y="188510"/>
                    <a:pt x="74401" y="184224"/>
                    <a:pt x="66686" y="178509"/>
                  </a:cubicBezTo>
                  <a:lnTo>
                    <a:pt x="64685" y="176985"/>
                  </a:lnTo>
                  <a:lnTo>
                    <a:pt x="62685" y="178509"/>
                  </a:lnTo>
                  <a:cubicBezTo>
                    <a:pt x="55351" y="183938"/>
                    <a:pt x="48112" y="189177"/>
                    <a:pt x="41349" y="193939"/>
                  </a:cubicBezTo>
                  <a:cubicBezTo>
                    <a:pt x="38396" y="191653"/>
                    <a:pt x="35729" y="189177"/>
                    <a:pt x="33253" y="186510"/>
                  </a:cubicBezTo>
                  <a:cubicBezTo>
                    <a:pt x="30872" y="183843"/>
                    <a:pt x="28776" y="180890"/>
                    <a:pt x="26871" y="177652"/>
                  </a:cubicBezTo>
                  <a:cubicBezTo>
                    <a:pt x="32395" y="171175"/>
                    <a:pt x="38396" y="164507"/>
                    <a:pt x="44683" y="157649"/>
                  </a:cubicBezTo>
                  <a:lnTo>
                    <a:pt x="46302" y="155935"/>
                  </a:lnTo>
                  <a:lnTo>
                    <a:pt x="45159" y="153744"/>
                  </a:lnTo>
                  <a:cubicBezTo>
                    <a:pt x="40587" y="145457"/>
                    <a:pt x="37539" y="136313"/>
                    <a:pt x="36206" y="126883"/>
                  </a:cubicBezTo>
                  <a:lnTo>
                    <a:pt x="35824" y="124407"/>
                  </a:lnTo>
                  <a:lnTo>
                    <a:pt x="33348" y="124026"/>
                  </a:lnTo>
                  <a:cubicBezTo>
                    <a:pt x="24394" y="122692"/>
                    <a:pt x="15536" y="121168"/>
                    <a:pt x="7059" y="119644"/>
                  </a:cubicBezTo>
                  <a:cubicBezTo>
                    <a:pt x="6583" y="115930"/>
                    <a:pt x="6392" y="112310"/>
                    <a:pt x="6583" y="108595"/>
                  </a:cubicBezTo>
                  <a:cubicBezTo>
                    <a:pt x="6773" y="104976"/>
                    <a:pt x="7345" y="101356"/>
                    <a:pt x="8297" y="97737"/>
                  </a:cubicBezTo>
                  <a:cubicBezTo>
                    <a:pt x="17156" y="97070"/>
                    <a:pt x="26299" y="96594"/>
                    <a:pt x="35444" y="96308"/>
                  </a:cubicBezTo>
                  <a:lnTo>
                    <a:pt x="37825" y="96213"/>
                  </a:lnTo>
                  <a:lnTo>
                    <a:pt x="38491" y="93832"/>
                  </a:lnTo>
                  <a:cubicBezTo>
                    <a:pt x="41063" y="84783"/>
                    <a:pt x="45159" y="76306"/>
                    <a:pt x="50684" y="68781"/>
                  </a:cubicBezTo>
                  <a:lnTo>
                    <a:pt x="52207" y="66781"/>
                  </a:lnTo>
                  <a:lnTo>
                    <a:pt x="50684" y="64780"/>
                  </a:lnTo>
                  <a:cubicBezTo>
                    <a:pt x="45254" y="57351"/>
                    <a:pt x="39920" y="49921"/>
                    <a:pt x="34872" y="42492"/>
                  </a:cubicBezTo>
                  <a:cubicBezTo>
                    <a:pt x="37158" y="39444"/>
                    <a:pt x="39539" y="36872"/>
                    <a:pt x="42302" y="34396"/>
                  </a:cubicBezTo>
                  <a:cubicBezTo>
                    <a:pt x="45064" y="31919"/>
                    <a:pt x="47921" y="29824"/>
                    <a:pt x="51160" y="27919"/>
                  </a:cubicBezTo>
                  <a:cubicBezTo>
                    <a:pt x="57923" y="33919"/>
                    <a:pt x="64781" y="40111"/>
                    <a:pt x="71543" y="46492"/>
                  </a:cubicBezTo>
                  <a:lnTo>
                    <a:pt x="73353" y="48207"/>
                  </a:lnTo>
                  <a:lnTo>
                    <a:pt x="75544" y="46969"/>
                  </a:lnTo>
                  <a:cubicBezTo>
                    <a:pt x="83545" y="42492"/>
                    <a:pt x="92308" y="39444"/>
                    <a:pt x="101452" y="38015"/>
                  </a:cubicBezTo>
                  <a:lnTo>
                    <a:pt x="103928" y="37634"/>
                  </a:lnTo>
                  <a:lnTo>
                    <a:pt x="104309" y="35158"/>
                  </a:lnTo>
                  <a:cubicBezTo>
                    <a:pt x="105643" y="26299"/>
                    <a:pt x="107072" y="17155"/>
                    <a:pt x="108691" y="7821"/>
                  </a:cubicBezTo>
                  <a:cubicBezTo>
                    <a:pt x="112406" y="7249"/>
                    <a:pt x="115930" y="7154"/>
                    <a:pt x="119644" y="7345"/>
                  </a:cubicBezTo>
                  <a:cubicBezTo>
                    <a:pt x="123264" y="7535"/>
                    <a:pt x="126788" y="8107"/>
                    <a:pt x="130408" y="8964"/>
                  </a:cubicBezTo>
                  <a:cubicBezTo>
                    <a:pt x="130979" y="17917"/>
                    <a:pt x="131456" y="27252"/>
                    <a:pt x="131836" y="36777"/>
                  </a:cubicBezTo>
                  <a:lnTo>
                    <a:pt x="131932" y="39253"/>
                  </a:lnTo>
                  <a:lnTo>
                    <a:pt x="134313" y="39920"/>
                  </a:lnTo>
                  <a:cubicBezTo>
                    <a:pt x="143171" y="42397"/>
                    <a:pt x="151458" y="46492"/>
                    <a:pt x="158983" y="51922"/>
                  </a:cubicBezTo>
                  <a:lnTo>
                    <a:pt x="160983" y="53446"/>
                  </a:lnTo>
                  <a:lnTo>
                    <a:pt x="162983" y="51922"/>
                  </a:lnTo>
                  <a:cubicBezTo>
                    <a:pt x="170413" y="46397"/>
                    <a:pt x="177842" y="40968"/>
                    <a:pt x="185081" y="35920"/>
                  </a:cubicBezTo>
                  <a:cubicBezTo>
                    <a:pt x="188129" y="38206"/>
                    <a:pt x="190701" y="40587"/>
                    <a:pt x="193178" y="43349"/>
                  </a:cubicBezTo>
                  <a:cubicBezTo>
                    <a:pt x="195559" y="46016"/>
                    <a:pt x="197749" y="48969"/>
                    <a:pt x="199559" y="52207"/>
                  </a:cubicBezTo>
                  <a:cubicBezTo>
                    <a:pt x="193844" y="58875"/>
                    <a:pt x="187653" y="65828"/>
                    <a:pt x="181366" y="72686"/>
                  </a:cubicBezTo>
                  <a:lnTo>
                    <a:pt x="179652" y="74496"/>
                  </a:lnTo>
                  <a:lnTo>
                    <a:pt x="180890" y="76687"/>
                  </a:lnTo>
                  <a:cubicBezTo>
                    <a:pt x="185557" y="84878"/>
                    <a:pt x="188606" y="93736"/>
                    <a:pt x="190034" y="103071"/>
                  </a:cubicBezTo>
                  <a:lnTo>
                    <a:pt x="190415" y="105547"/>
                  </a:lnTo>
                  <a:lnTo>
                    <a:pt x="192797" y="105833"/>
                  </a:lnTo>
                  <a:cubicBezTo>
                    <a:pt x="201845" y="107262"/>
                    <a:pt x="210703" y="108691"/>
                    <a:pt x="219371" y="110310"/>
                  </a:cubicBezTo>
                  <a:cubicBezTo>
                    <a:pt x="219847" y="114025"/>
                    <a:pt x="220038" y="117644"/>
                    <a:pt x="219847" y="121359"/>
                  </a:cubicBezTo>
                  <a:cubicBezTo>
                    <a:pt x="219657" y="124978"/>
                    <a:pt x="219086" y="128598"/>
                    <a:pt x="218133" y="132217"/>
                  </a:cubicBezTo>
                  <a:cubicBezTo>
                    <a:pt x="209561" y="132884"/>
                    <a:pt x="200607" y="133265"/>
                    <a:pt x="191368" y="133646"/>
                  </a:cubicBezTo>
                  <a:lnTo>
                    <a:pt x="189082" y="133360"/>
                  </a:lnTo>
                  <a:close/>
                  <a:moveTo>
                    <a:pt x="225086" y="104023"/>
                  </a:moveTo>
                  <a:lnTo>
                    <a:pt x="222895" y="103642"/>
                  </a:lnTo>
                  <a:cubicBezTo>
                    <a:pt x="214132" y="102023"/>
                    <a:pt x="205274" y="100499"/>
                    <a:pt x="196321" y="99166"/>
                  </a:cubicBezTo>
                  <a:cubicBezTo>
                    <a:pt x="194797" y="90784"/>
                    <a:pt x="191939" y="82687"/>
                    <a:pt x="187939" y="75163"/>
                  </a:cubicBezTo>
                  <a:cubicBezTo>
                    <a:pt x="194225" y="68305"/>
                    <a:pt x="200416" y="61351"/>
                    <a:pt x="206036" y="54684"/>
                  </a:cubicBezTo>
                  <a:lnTo>
                    <a:pt x="207846" y="52874"/>
                  </a:lnTo>
                  <a:lnTo>
                    <a:pt x="206703" y="50683"/>
                  </a:lnTo>
                  <a:cubicBezTo>
                    <a:pt x="204227" y="46111"/>
                    <a:pt x="201369" y="42111"/>
                    <a:pt x="198226" y="38396"/>
                  </a:cubicBezTo>
                  <a:cubicBezTo>
                    <a:pt x="194987" y="34777"/>
                    <a:pt x="191368" y="31538"/>
                    <a:pt x="186986" y="28490"/>
                  </a:cubicBezTo>
                  <a:lnTo>
                    <a:pt x="184891" y="27347"/>
                  </a:lnTo>
                  <a:lnTo>
                    <a:pt x="183081" y="28681"/>
                  </a:lnTo>
                  <a:cubicBezTo>
                    <a:pt x="175842" y="33729"/>
                    <a:pt x="168412" y="39063"/>
                    <a:pt x="160888" y="44683"/>
                  </a:cubicBezTo>
                  <a:cubicBezTo>
                    <a:pt x="154030" y="39920"/>
                    <a:pt x="146505" y="36301"/>
                    <a:pt x="138504" y="33729"/>
                  </a:cubicBezTo>
                  <a:cubicBezTo>
                    <a:pt x="138123" y="24109"/>
                    <a:pt x="137552" y="14679"/>
                    <a:pt x="136980" y="5916"/>
                  </a:cubicBezTo>
                  <a:lnTo>
                    <a:pt x="136980" y="3344"/>
                  </a:lnTo>
                  <a:lnTo>
                    <a:pt x="134599" y="2677"/>
                  </a:lnTo>
                  <a:cubicBezTo>
                    <a:pt x="129741" y="1249"/>
                    <a:pt x="124978" y="391"/>
                    <a:pt x="120026" y="106"/>
                  </a:cubicBezTo>
                  <a:cubicBezTo>
                    <a:pt x="115168" y="-180"/>
                    <a:pt x="110310" y="106"/>
                    <a:pt x="105166" y="1058"/>
                  </a:cubicBezTo>
                  <a:lnTo>
                    <a:pt x="102976" y="1725"/>
                  </a:lnTo>
                  <a:lnTo>
                    <a:pt x="102595" y="3916"/>
                  </a:lnTo>
                  <a:cubicBezTo>
                    <a:pt x="100976" y="12869"/>
                    <a:pt x="99452" y="22108"/>
                    <a:pt x="98023" y="31252"/>
                  </a:cubicBezTo>
                  <a:cubicBezTo>
                    <a:pt x="89831" y="32776"/>
                    <a:pt x="81926" y="35539"/>
                    <a:pt x="74496" y="39349"/>
                  </a:cubicBezTo>
                  <a:cubicBezTo>
                    <a:pt x="67543" y="32872"/>
                    <a:pt x="60685" y="26680"/>
                    <a:pt x="54017" y="20870"/>
                  </a:cubicBezTo>
                  <a:lnTo>
                    <a:pt x="52207" y="19060"/>
                  </a:lnTo>
                  <a:lnTo>
                    <a:pt x="50017" y="20203"/>
                  </a:lnTo>
                  <a:cubicBezTo>
                    <a:pt x="45540" y="22680"/>
                    <a:pt x="41635" y="25442"/>
                    <a:pt x="37920" y="28776"/>
                  </a:cubicBezTo>
                  <a:cubicBezTo>
                    <a:pt x="34301" y="32014"/>
                    <a:pt x="31062" y="35729"/>
                    <a:pt x="28109" y="40111"/>
                  </a:cubicBezTo>
                  <a:lnTo>
                    <a:pt x="26966" y="42111"/>
                  </a:lnTo>
                  <a:lnTo>
                    <a:pt x="28205" y="44016"/>
                  </a:lnTo>
                  <a:cubicBezTo>
                    <a:pt x="33157" y="51350"/>
                    <a:pt x="38491" y="58875"/>
                    <a:pt x="43921" y="66304"/>
                  </a:cubicBezTo>
                  <a:cubicBezTo>
                    <a:pt x="39063" y="73353"/>
                    <a:pt x="35348" y="80973"/>
                    <a:pt x="32777" y="89164"/>
                  </a:cubicBezTo>
                  <a:cubicBezTo>
                    <a:pt x="23537" y="89545"/>
                    <a:pt x="14393" y="90022"/>
                    <a:pt x="5726" y="90688"/>
                  </a:cubicBezTo>
                  <a:lnTo>
                    <a:pt x="3249" y="90784"/>
                  </a:lnTo>
                  <a:lnTo>
                    <a:pt x="2582" y="93165"/>
                  </a:lnTo>
                  <a:cubicBezTo>
                    <a:pt x="1153" y="98118"/>
                    <a:pt x="296" y="102976"/>
                    <a:pt x="106" y="107929"/>
                  </a:cubicBezTo>
                  <a:cubicBezTo>
                    <a:pt x="-180" y="112786"/>
                    <a:pt x="106" y="117739"/>
                    <a:pt x="1058" y="122978"/>
                  </a:cubicBezTo>
                  <a:lnTo>
                    <a:pt x="1725" y="125264"/>
                  </a:lnTo>
                  <a:lnTo>
                    <a:pt x="3916" y="125645"/>
                  </a:lnTo>
                  <a:cubicBezTo>
                    <a:pt x="12488" y="127264"/>
                    <a:pt x="21251" y="128788"/>
                    <a:pt x="30205" y="130122"/>
                  </a:cubicBezTo>
                  <a:cubicBezTo>
                    <a:pt x="31729" y="138790"/>
                    <a:pt x="34491" y="146981"/>
                    <a:pt x="38396" y="154696"/>
                  </a:cubicBezTo>
                  <a:cubicBezTo>
                    <a:pt x="32110" y="161650"/>
                    <a:pt x="26109" y="168412"/>
                    <a:pt x="20489" y="174985"/>
                  </a:cubicBezTo>
                  <a:lnTo>
                    <a:pt x="19061" y="176794"/>
                  </a:lnTo>
                  <a:lnTo>
                    <a:pt x="20108" y="178795"/>
                  </a:lnTo>
                  <a:cubicBezTo>
                    <a:pt x="22585" y="183367"/>
                    <a:pt x="25442" y="187367"/>
                    <a:pt x="28681" y="191082"/>
                  </a:cubicBezTo>
                  <a:cubicBezTo>
                    <a:pt x="31919" y="194701"/>
                    <a:pt x="35539" y="197940"/>
                    <a:pt x="39920" y="200988"/>
                  </a:cubicBezTo>
                  <a:lnTo>
                    <a:pt x="41920" y="202131"/>
                  </a:lnTo>
                  <a:lnTo>
                    <a:pt x="43730" y="200797"/>
                  </a:lnTo>
                  <a:cubicBezTo>
                    <a:pt x="50684" y="195940"/>
                    <a:pt x="57827" y="190796"/>
                    <a:pt x="65066" y="185462"/>
                  </a:cubicBezTo>
                  <a:cubicBezTo>
                    <a:pt x="72210" y="190510"/>
                    <a:pt x="80020" y="194416"/>
                    <a:pt x="88403" y="196987"/>
                  </a:cubicBezTo>
                  <a:cubicBezTo>
                    <a:pt x="88784" y="205846"/>
                    <a:pt x="89260" y="214609"/>
                    <a:pt x="89927" y="223086"/>
                  </a:cubicBezTo>
                  <a:lnTo>
                    <a:pt x="90403" y="225753"/>
                  </a:lnTo>
                  <a:lnTo>
                    <a:pt x="92403" y="226705"/>
                  </a:lnTo>
                  <a:cubicBezTo>
                    <a:pt x="97356" y="228134"/>
                    <a:pt x="102119" y="229087"/>
                    <a:pt x="106976" y="229277"/>
                  </a:cubicBezTo>
                  <a:cubicBezTo>
                    <a:pt x="108119" y="229277"/>
                    <a:pt x="109262" y="229277"/>
                    <a:pt x="110405" y="229277"/>
                  </a:cubicBezTo>
                  <a:cubicBezTo>
                    <a:pt x="114120" y="229277"/>
                    <a:pt x="117835" y="228991"/>
                    <a:pt x="121835" y="228229"/>
                  </a:cubicBezTo>
                  <a:lnTo>
                    <a:pt x="124121" y="227658"/>
                  </a:lnTo>
                  <a:lnTo>
                    <a:pt x="124502" y="225372"/>
                  </a:lnTo>
                  <a:cubicBezTo>
                    <a:pt x="126026" y="216990"/>
                    <a:pt x="127455" y="208227"/>
                    <a:pt x="128789" y="199273"/>
                  </a:cubicBezTo>
                  <a:cubicBezTo>
                    <a:pt x="137361" y="197749"/>
                    <a:pt x="145648" y="194797"/>
                    <a:pt x="153363" y="190701"/>
                  </a:cubicBezTo>
                  <a:cubicBezTo>
                    <a:pt x="160126" y="197083"/>
                    <a:pt x="166698" y="202988"/>
                    <a:pt x="172794" y="208227"/>
                  </a:cubicBezTo>
                  <a:lnTo>
                    <a:pt x="174509" y="208989"/>
                  </a:lnTo>
                  <a:lnTo>
                    <a:pt x="176985" y="209084"/>
                  </a:lnTo>
                  <a:cubicBezTo>
                    <a:pt x="181462" y="206608"/>
                    <a:pt x="185462" y="203750"/>
                    <a:pt x="189082" y="200512"/>
                  </a:cubicBezTo>
                  <a:cubicBezTo>
                    <a:pt x="192701" y="197273"/>
                    <a:pt x="195844" y="193558"/>
                    <a:pt x="198702" y="189367"/>
                  </a:cubicBezTo>
                  <a:lnTo>
                    <a:pt x="199273" y="187177"/>
                  </a:lnTo>
                  <a:lnTo>
                    <a:pt x="198797" y="185272"/>
                  </a:lnTo>
                  <a:cubicBezTo>
                    <a:pt x="194130" y="178509"/>
                    <a:pt x="188986" y="171175"/>
                    <a:pt x="183462" y="163555"/>
                  </a:cubicBezTo>
                  <a:cubicBezTo>
                    <a:pt x="188320" y="156411"/>
                    <a:pt x="192130" y="148505"/>
                    <a:pt x="194511" y="140218"/>
                  </a:cubicBezTo>
                  <a:cubicBezTo>
                    <a:pt x="203750" y="139837"/>
                    <a:pt x="212704" y="139266"/>
                    <a:pt x="221657" y="138599"/>
                  </a:cubicBezTo>
                  <a:lnTo>
                    <a:pt x="223943" y="138028"/>
                  </a:lnTo>
                  <a:lnTo>
                    <a:pt x="224419" y="136218"/>
                  </a:lnTo>
                  <a:cubicBezTo>
                    <a:pt x="225848" y="131265"/>
                    <a:pt x="226705" y="126502"/>
                    <a:pt x="226896" y="121549"/>
                  </a:cubicBezTo>
                  <a:cubicBezTo>
                    <a:pt x="227182" y="116692"/>
                    <a:pt x="226896" y="111834"/>
                    <a:pt x="225944" y="106595"/>
                  </a:cubicBezTo>
                  <a:lnTo>
                    <a:pt x="225086" y="104023"/>
                  </a:lnTo>
                  <a:close/>
                </a:path>
              </a:pathLst>
            </a:custGeom>
            <a:grpFill/>
            <a:ln w="9525" cap="flat">
              <a:no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AU" sz="1092" b="0" i="0" u="none" strike="noStrike" kern="1200" cap="none" spc="0" normalizeH="0" baseline="0" noProof="0" dirty="0">
                <a:ln>
                  <a:noFill/>
                </a:ln>
                <a:solidFill>
                  <a:prstClr val="black"/>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AB3C61BC-B672-4D0F-A93A-AB5E255D47C8}"/>
                </a:ext>
              </a:extLst>
            </p:cNvPr>
            <p:cNvSpPr/>
            <p:nvPr/>
          </p:nvSpPr>
          <p:spPr>
            <a:xfrm>
              <a:off x="6498773" y="7995640"/>
              <a:ext cx="115151" cy="116220"/>
            </a:xfrm>
            <a:custGeom>
              <a:avLst/>
              <a:gdLst>
                <a:gd name="connsiteX0" fmla="*/ 108296 w 115151"/>
                <a:gd name="connsiteY0" fmla="*/ 60975 h 116220"/>
                <a:gd name="connsiteX1" fmla="*/ 91437 w 115151"/>
                <a:gd name="connsiteY1" fmla="*/ 96408 h 116220"/>
                <a:gd name="connsiteX2" fmla="*/ 19618 w 115151"/>
                <a:gd name="connsiteY2" fmla="*/ 92408 h 116220"/>
                <a:gd name="connsiteX3" fmla="*/ 6760 w 115151"/>
                <a:gd name="connsiteY3" fmla="*/ 55260 h 116220"/>
                <a:gd name="connsiteX4" fmla="*/ 23524 w 115151"/>
                <a:gd name="connsiteY4" fmla="*/ 19827 h 116220"/>
                <a:gd name="connsiteX5" fmla="*/ 57337 w 115151"/>
                <a:gd name="connsiteY5" fmla="*/ 6683 h 116220"/>
                <a:gd name="connsiteX6" fmla="*/ 60290 w 115151"/>
                <a:gd name="connsiteY6" fmla="*/ 6778 h 116220"/>
                <a:gd name="connsiteX7" fmla="*/ 95342 w 115151"/>
                <a:gd name="connsiteY7" fmla="*/ 23828 h 116220"/>
                <a:gd name="connsiteX8" fmla="*/ 108296 w 115151"/>
                <a:gd name="connsiteY8" fmla="*/ 60975 h 116220"/>
                <a:gd name="connsiteX9" fmla="*/ 60671 w 115151"/>
                <a:gd name="connsiteY9" fmla="*/ 110 h 116220"/>
                <a:gd name="connsiteX10" fmla="*/ 19142 w 115151"/>
                <a:gd name="connsiteY10" fmla="*/ 14779 h 116220"/>
                <a:gd name="connsiteX11" fmla="*/ 92 w 115151"/>
                <a:gd name="connsiteY11" fmla="*/ 54879 h 116220"/>
                <a:gd name="connsiteX12" fmla="*/ 14665 w 115151"/>
                <a:gd name="connsiteY12" fmla="*/ 96884 h 116220"/>
                <a:gd name="connsiteX13" fmla="*/ 57623 w 115151"/>
                <a:gd name="connsiteY13" fmla="*/ 116220 h 116220"/>
                <a:gd name="connsiteX14" fmla="*/ 96009 w 115151"/>
                <a:gd name="connsiteY14" fmla="*/ 101456 h 116220"/>
                <a:gd name="connsiteX15" fmla="*/ 115059 w 115151"/>
                <a:gd name="connsiteY15" fmla="*/ 61356 h 116220"/>
                <a:gd name="connsiteX16" fmla="*/ 100486 w 115151"/>
                <a:gd name="connsiteY16" fmla="*/ 19256 h 116220"/>
                <a:gd name="connsiteX17" fmla="*/ 60671 w 115151"/>
                <a:gd name="connsiteY17" fmla="*/ 110 h 11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151" h="116220">
                  <a:moveTo>
                    <a:pt x="108296" y="60975"/>
                  </a:moveTo>
                  <a:cubicBezTo>
                    <a:pt x="107534" y="74691"/>
                    <a:pt x="101533" y="87264"/>
                    <a:pt x="91437" y="96408"/>
                  </a:cubicBezTo>
                  <a:cubicBezTo>
                    <a:pt x="70577" y="115268"/>
                    <a:pt x="38287" y="113553"/>
                    <a:pt x="19618" y="92408"/>
                  </a:cubicBezTo>
                  <a:cubicBezTo>
                    <a:pt x="10570" y="82216"/>
                    <a:pt x="5998" y="68976"/>
                    <a:pt x="6760" y="55260"/>
                  </a:cubicBezTo>
                  <a:cubicBezTo>
                    <a:pt x="7522" y="41544"/>
                    <a:pt x="13427" y="28971"/>
                    <a:pt x="23524" y="19827"/>
                  </a:cubicBezTo>
                  <a:cubicBezTo>
                    <a:pt x="32954" y="11350"/>
                    <a:pt x="44860" y="6683"/>
                    <a:pt x="57337" y="6683"/>
                  </a:cubicBezTo>
                  <a:cubicBezTo>
                    <a:pt x="58290" y="6683"/>
                    <a:pt x="59242" y="6778"/>
                    <a:pt x="60290" y="6778"/>
                  </a:cubicBezTo>
                  <a:cubicBezTo>
                    <a:pt x="73911" y="7540"/>
                    <a:pt x="86389" y="13541"/>
                    <a:pt x="95342" y="23828"/>
                  </a:cubicBezTo>
                  <a:cubicBezTo>
                    <a:pt x="104391" y="34115"/>
                    <a:pt x="108963" y="47259"/>
                    <a:pt x="108296" y="60975"/>
                  </a:cubicBezTo>
                  <a:moveTo>
                    <a:pt x="60671" y="110"/>
                  </a:moveTo>
                  <a:cubicBezTo>
                    <a:pt x="45336" y="-842"/>
                    <a:pt x="30572" y="4397"/>
                    <a:pt x="19142" y="14779"/>
                  </a:cubicBezTo>
                  <a:cubicBezTo>
                    <a:pt x="7712" y="25161"/>
                    <a:pt x="950" y="39353"/>
                    <a:pt x="92" y="54879"/>
                  </a:cubicBezTo>
                  <a:cubicBezTo>
                    <a:pt x="-765" y="70405"/>
                    <a:pt x="4379" y="85359"/>
                    <a:pt x="14665" y="96884"/>
                  </a:cubicBezTo>
                  <a:cubicBezTo>
                    <a:pt x="25524" y="109172"/>
                    <a:pt x="41240" y="116220"/>
                    <a:pt x="57623" y="116220"/>
                  </a:cubicBezTo>
                  <a:cubicBezTo>
                    <a:pt x="71815" y="116220"/>
                    <a:pt x="85436" y="110981"/>
                    <a:pt x="96009" y="101456"/>
                  </a:cubicBezTo>
                  <a:cubicBezTo>
                    <a:pt x="107439" y="91169"/>
                    <a:pt x="114202" y="76882"/>
                    <a:pt x="115059" y="61356"/>
                  </a:cubicBezTo>
                  <a:cubicBezTo>
                    <a:pt x="115916" y="45830"/>
                    <a:pt x="110773" y="30876"/>
                    <a:pt x="100486" y="19256"/>
                  </a:cubicBezTo>
                  <a:cubicBezTo>
                    <a:pt x="90104" y="7826"/>
                    <a:pt x="76102" y="968"/>
                    <a:pt x="60671" y="110"/>
                  </a:cubicBezTo>
                </a:path>
              </a:pathLst>
            </a:custGeom>
            <a:grpFill/>
            <a:ln w="9525" cap="flat">
              <a:no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AU" sz="1092" b="0" i="0" u="none" strike="noStrike" kern="1200" cap="none" spc="0" normalizeH="0" baseline="0" noProof="0" dirty="0">
                <a:ln>
                  <a:noFill/>
                </a:ln>
                <a:solidFill>
                  <a:prstClr val="black"/>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2D59989D-B187-433E-A6BF-F0CCDB058A73}"/>
                </a:ext>
              </a:extLst>
            </p:cNvPr>
            <p:cNvSpPr/>
            <p:nvPr/>
          </p:nvSpPr>
          <p:spPr>
            <a:xfrm>
              <a:off x="6680978" y="7939867"/>
              <a:ext cx="88349" cy="89220"/>
            </a:xfrm>
            <a:custGeom>
              <a:avLst/>
              <a:gdLst>
                <a:gd name="connsiteX0" fmla="*/ 60013 w 88349"/>
                <a:gd name="connsiteY0" fmla="*/ 78934 h 89220"/>
                <a:gd name="connsiteX1" fmla="*/ 31343 w 88349"/>
                <a:gd name="connsiteY1" fmla="*/ 80172 h 89220"/>
                <a:gd name="connsiteX2" fmla="*/ 10197 w 88349"/>
                <a:gd name="connsiteY2" fmla="*/ 60646 h 89220"/>
                <a:gd name="connsiteX3" fmla="*/ 8959 w 88349"/>
                <a:gd name="connsiteY3" fmla="*/ 31690 h 89220"/>
                <a:gd name="connsiteX4" fmla="*/ 28295 w 88349"/>
                <a:gd name="connsiteY4" fmla="*/ 10354 h 89220"/>
                <a:gd name="connsiteX5" fmla="*/ 44106 w 88349"/>
                <a:gd name="connsiteY5" fmla="*/ 6830 h 89220"/>
                <a:gd name="connsiteX6" fmla="*/ 78111 w 88349"/>
                <a:gd name="connsiteY6" fmla="*/ 28737 h 89220"/>
                <a:gd name="connsiteX7" fmla="*/ 60013 w 88349"/>
                <a:gd name="connsiteY7" fmla="*/ 78934 h 89220"/>
                <a:gd name="connsiteX8" fmla="*/ 84207 w 88349"/>
                <a:gd name="connsiteY8" fmla="*/ 25784 h 89220"/>
                <a:gd name="connsiteX9" fmla="*/ 25533 w 88349"/>
                <a:gd name="connsiteY9" fmla="*/ 4163 h 89220"/>
                <a:gd name="connsiteX10" fmla="*/ 2673 w 88349"/>
                <a:gd name="connsiteY10" fmla="*/ 29309 h 89220"/>
                <a:gd name="connsiteX11" fmla="*/ 4197 w 88349"/>
                <a:gd name="connsiteY11" fmla="*/ 63408 h 89220"/>
                <a:gd name="connsiteX12" fmla="*/ 29057 w 88349"/>
                <a:gd name="connsiteY12" fmla="*/ 86554 h 89220"/>
                <a:gd name="connsiteX13" fmla="*/ 44297 w 88349"/>
                <a:gd name="connsiteY13" fmla="*/ 89221 h 89220"/>
                <a:gd name="connsiteX14" fmla="*/ 62871 w 88349"/>
                <a:gd name="connsiteY14" fmla="*/ 85030 h 89220"/>
                <a:gd name="connsiteX15" fmla="*/ 84207 w 88349"/>
                <a:gd name="connsiteY15" fmla="*/ 25784 h 8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349" h="89220">
                  <a:moveTo>
                    <a:pt x="60013" y="78934"/>
                  </a:moveTo>
                  <a:cubicBezTo>
                    <a:pt x="50964" y="83220"/>
                    <a:pt x="40773" y="83696"/>
                    <a:pt x="31343" y="80172"/>
                  </a:cubicBezTo>
                  <a:cubicBezTo>
                    <a:pt x="21913" y="76648"/>
                    <a:pt x="14484" y="69695"/>
                    <a:pt x="10197" y="60646"/>
                  </a:cubicBezTo>
                  <a:cubicBezTo>
                    <a:pt x="6006" y="51502"/>
                    <a:pt x="5530" y="41215"/>
                    <a:pt x="8959" y="31690"/>
                  </a:cubicBezTo>
                  <a:cubicBezTo>
                    <a:pt x="12388" y="22165"/>
                    <a:pt x="19246" y="14545"/>
                    <a:pt x="28295" y="10354"/>
                  </a:cubicBezTo>
                  <a:cubicBezTo>
                    <a:pt x="33248" y="7973"/>
                    <a:pt x="38582" y="6830"/>
                    <a:pt x="44106" y="6830"/>
                  </a:cubicBezTo>
                  <a:cubicBezTo>
                    <a:pt x="58680" y="6830"/>
                    <a:pt x="72015" y="15497"/>
                    <a:pt x="78111" y="28737"/>
                  </a:cubicBezTo>
                  <a:cubicBezTo>
                    <a:pt x="86874" y="47597"/>
                    <a:pt x="78778" y="70171"/>
                    <a:pt x="60013" y="78934"/>
                  </a:cubicBezTo>
                  <a:moveTo>
                    <a:pt x="84207" y="25784"/>
                  </a:moveTo>
                  <a:cubicBezTo>
                    <a:pt x="73920" y="3496"/>
                    <a:pt x="47631" y="-6220"/>
                    <a:pt x="25533" y="4163"/>
                  </a:cubicBezTo>
                  <a:cubicBezTo>
                    <a:pt x="14865" y="9211"/>
                    <a:pt x="6769" y="18164"/>
                    <a:pt x="2673" y="29309"/>
                  </a:cubicBezTo>
                  <a:cubicBezTo>
                    <a:pt x="-1328" y="40548"/>
                    <a:pt x="-852" y="52645"/>
                    <a:pt x="4197" y="63408"/>
                  </a:cubicBezTo>
                  <a:cubicBezTo>
                    <a:pt x="9150" y="74171"/>
                    <a:pt x="18008" y="82363"/>
                    <a:pt x="29057" y="86554"/>
                  </a:cubicBezTo>
                  <a:cubicBezTo>
                    <a:pt x="34010" y="88364"/>
                    <a:pt x="39154" y="89221"/>
                    <a:pt x="44297" y="89221"/>
                  </a:cubicBezTo>
                  <a:cubicBezTo>
                    <a:pt x="50679" y="89221"/>
                    <a:pt x="56965" y="87792"/>
                    <a:pt x="62871" y="85030"/>
                  </a:cubicBezTo>
                  <a:cubicBezTo>
                    <a:pt x="84969" y="74743"/>
                    <a:pt x="94494" y="48073"/>
                    <a:pt x="84207" y="25784"/>
                  </a:cubicBezTo>
                </a:path>
              </a:pathLst>
            </a:custGeom>
            <a:grpFill/>
            <a:ln w="9525" cap="flat">
              <a:no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AU" sz="1092" b="0" i="0" u="none" strike="noStrike" kern="1200" cap="none" spc="0" normalizeH="0" baseline="0" noProof="0" dirty="0">
                <a:ln>
                  <a:noFill/>
                </a:ln>
                <a:solidFill>
                  <a:prstClr val="black"/>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C93A5F6D-0EF1-4AF4-B76C-67F2759FAB5B}"/>
                </a:ext>
              </a:extLst>
            </p:cNvPr>
            <p:cNvSpPr/>
            <p:nvPr/>
          </p:nvSpPr>
          <p:spPr>
            <a:xfrm>
              <a:off x="6639264" y="7897167"/>
              <a:ext cx="172021" cy="173259"/>
            </a:xfrm>
            <a:custGeom>
              <a:avLst/>
              <a:gdLst>
                <a:gd name="connsiteX0" fmla="*/ 119825 w 172021"/>
                <a:gd name="connsiteY0" fmla="*/ 136779 h 173259"/>
                <a:gd name="connsiteX1" fmla="*/ 120682 w 172021"/>
                <a:gd name="connsiteY1" fmla="*/ 139160 h 173259"/>
                <a:gd name="connsiteX2" fmla="*/ 127064 w 172021"/>
                <a:gd name="connsiteY2" fmla="*/ 158115 h 173259"/>
                <a:gd name="connsiteX3" fmla="*/ 120396 w 172021"/>
                <a:gd name="connsiteY3" fmla="*/ 162020 h 173259"/>
                <a:gd name="connsiteX4" fmla="*/ 113062 w 172021"/>
                <a:gd name="connsiteY4" fmla="*/ 164687 h 173259"/>
                <a:gd name="connsiteX5" fmla="*/ 102775 w 172021"/>
                <a:gd name="connsiteY5" fmla="*/ 147542 h 173259"/>
                <a:gd name="connsiteX6" fmla="*/ 101441 w 172021"/>
                <a:gd name="connsiteY6" fmla="*/ 145351 h 173259"/>
                <a:gd name="connsiteX7" fmla="*/ 99060 w 172021"/>
                <a:gd name="connsiteY7" fmla="*/ 145923 h 173259"/>
                <a:gd name="connsiteX8" fmla="*/ 77343 w 172021"/>
                <a:gd name="connsiteY8" fmla="*/ 146780 h 173259"/>
                <a:gd name="connsiteX9" fmla="*/ 74867 w 172021"/>
                <a:gd name="connsiteY9" fmla="*/ 146399 h 173259"/>
                <a:gd name="connsiteX10" fmla="*/ 73819 w 172021"/>
                <a:gd name="connsiteY10" fmla="*/ 148685 h 173259"/>
                <a:gd name="connsiteX11" fmla="*/ 65151 w 172021"/>
                <a:gd name="connsiteY11" fmla="*/ 166497 h 173259"/>
                <a:gd name="connsiteX12" fmla="*/ 57626 w 172021"/>
                <a:gd name="connsiteY12" fmla="*/ 164497 h 173259"/>
                <a:gd name="connsiteX13" fmla="*/ 50578 w 172021"/>
                <a:gd name="connsiteY13" fmla="*/ 161163 h 173259"/>
                <a:gd name="connsiteX14" fmla="*/ 55340 w 172021"/>
                <a:gd name="connsiteY14" fmla="*/ 141732 h 173259"/>
                <a:gd name="connsiteX15" fmla="*/ 56007 w 172021"/>
                <a:gd name="connsiteY15" fmla="*/ 139351 h 173259"/>
                <a:gd name="connsiteX16" fmla="*/ 53911 w 172021"/>
                <a:gd name="connsiteY16" fmla="*/ 138017 h 173259"/>
                <a:gd name="connsiteX17" fmla="*/ 38005 w 172021"/>
                <a:gd name="connsiteY17" fmla="*/ 123158 h 173259"/>
                <a:gd name="connsiteX18" fmla="*/ 36481 w 172021"/>
                <a:gd name="connsiteY18" fmla="*/ 121063 h 173259"/>
                <a:gd name="connsiteX19" fmla="*/ 34100 w 172021"/>
                <a:gd name="connsiteY19" fmla="*/ 121920 h 173259"/>
                <a:gd name="connsiteX20" fmla="*/ 15430 w 172021"/>
                <a:gd name="connsiteY20" fmla="*/ 128302 h 173259"/>
                <a:gd name="connsiteX21" fmla="*/ 11525 w 172021"/>
                <a:gd name="connsiteY21" fmla="*/ 121539 h 173259"/>
                <a:gd name="connsiteX22" fmla="*/ 8858 w 172021"/>
                <a:gd name="connsiteY22" fmla="*/ 114205 h 173259"/>
                <a:gd name="connsiteX23" fmla="*/ 26003 w 172021"/>
                <a:gd name="connsiteY23" fmla="*/ 103727 h 173259"/>
                <a:gd name="connsiteX24" fmla="*/ 28099 w 172021"/>
                <a:gd name="connsiteY24" fmla="*/ 102489 h 173259"/>
                <a:gd name="connsiteX25" fmla="*/ 27623 w 172021"/>
                <a:gd name="connsiteY25" fmla="*/ 100108 h 173259"/>
                <a:gd name="connsiteX26" fmla="*/ 27051 w 172021"/>
                <a:gd name="connsiteY26" fmla="*/ 78391 h 173259"/>
                <a:gd name="connsiteX27" fmla="*/ 27432 w 172021"/>
                <a:gd name="connsiteY27" fmla="*/ 75914 h 173259"/>
                <a:gd name="connsiteX28" fmla="*/ 25146 w 172021"/>
                <a:gd name="connsiteY28" fmla="*/ 74867 h 173259"/>
                <a:gd name="connsiteX29" fmla="*/ 7144 w 172021"/>
                <a:gd name="connsiteY29" fmla="*/ 65913 h 173259"/>
                <a:gd name="connsiteX30" fmla="*/ 9144 w 172021"/>
                <a:gd name="connsiteY30" fmla="*/ 58293 h 173259"/>
                <a:gd name="connsiteX31" fmla="*/ 12478 w 172021"/>
                <a:gd name="connsiteY31" fmla="*/ 51244 h 173259"/>
                <a:gd name="connsiteX32" fmla="*/ 32290 w 172021"/>
                <a:gd name="connsiteY32" fmla="*/ 56197 h 173259"/>
                <a:gd name="connsiteX33" fmla="*/ 34576 w 172021"/>
                <a:gd name="connsiteY33" fmla="*/ 56769 h 173259"/>
                <a:gd name="connsiteX34" fmla="*/ 35909 w 172021"/>
                <a:gd name="connsiteY34" fmla="*/ 54769 h 173259"/>
                <a:gd name="connsiteX35" fmla="*/ 50387 w 172021"/>
                <a:gd name="connsiteY35" fmla="*/ 39148 h 173259"/>
                <a:gd name="connsiteX36" fmla="*/ 52387 w 172021"/>
                <a:gd name="connsiteY36" fmla="*/ 37624 h 173259"/>
                <a:gd name="connsiteX37" fmla="*/ 51530 w 172021"/>
                <a:gd name="connsiteY37" fmla="*/ 35338 h 173259"/>
                <a:gd name="connsiteX38" fmla="*/ 44958 w 172021"/>
                <a:gd name="connsiteY38" fmla="*/ 15811 h 173259"/>
                <a:gd name="connsiteX39" fmla="*/ 51721 w 172021"/>
                <a:gd name="connsiteY39" fmla="*/ 11906 h 173259"/>
                <a:gd name="connsiteX40" fmla="*/ 59055 w 172021"/>
                <a:gd name="connsiteY40" fmla="*/ 9239 h 173259"/>
                <a:gd name="connsiteX41" fmla="*/ 69818 w 172021"/>
                <a:gd name="connsiteY41" fmla="*/ 27146 h 173259"/>
                <a:gd name="connsiteX42" fmla="*/ 70961 w 172021"/>
                <a:gd name="connsiteY42" fmla="*/ 29242 h 173259"/>
                <a:gd name="connsiteX43" fmla="*/ 73342 w 172021"/>
                <a:gd name="connsiteY43" fmla="*/ 28765 h 173259"/>
                <a:gd name="connsiteX44" fmla="*/ 94202 w 172021"/>
                <a:gd name="connsiteY44" fmla="*/ 28003 h 173259"/>
                <a:gd name="connsiteX45" fmla="*/ 96679 w 172021"/>
                <a:gd name="connsiteY45" fmla="*/ 28384 h 173259"/>
                <a:gd name="connsiteX46" fmla="*/ 97726 w 172021"/>
                <a:gd name="connsiteY46" fmla="*/ 26098 h 173259"/>
                <a:gd name="connsiteX47" fmla="*/ 106775 w 172021"/>
                <a:gd name="connsiteY47" fmla="*/ 7429 h 173259"/>
                <a:gd name="connsiteX48" fmla="*/ 114300 w 172021"/>
                <a:gd name="connsiteY48" fmla="*/ 9430 h 173259"/>
                <a:gd name="connsiteX49" fmla="*/ 121349 w 172021"/>
                <a:gd name="connsiteY49" fmla="*/ 12764 h 173259"/>
                <a:gd name="connsiteX50" fmla="*/ 116395 w 172021"/>
                <a:gd name="connsiteY50" fmla="*/ 33147 h 173259"/>
                <a:gd name="connsiteX51" fmla="*/ 115729 w 172021"/>
                <a:gd name="connsiteY51" fmla="*/ 35528 h 173259"/>
                <a:gd name="connsiteX52" fmla="*/ 117824 w 172021"/>
                <a:gd name="connsiteY52" fmla="*/ 36862 h 173259"/>
                <a:gd name="connsiteX53" fmla="*/ 133159 w 172021"/>
                <a:gd name="connsiteY53" fmla="*/ 51149 h 173259"/>
                <a:gd name="connsiteX54" fmla="*/ 134684 w 172021"/>
                <a:gd name="connsiteY54" fmla="*/ 53150 h 173259"/>
                <a:gd name="connsiteX55" fmla="*/ 137065 w 172021"/>
                <a:gd name="connsiteY55" fmla="*/ 52292 h 173259"/>
                <a:gd name="connsiteX56" fmla="*/ 156496 w 172021"/>
                <a:gd name="connsiteY56" fmla="*/ 45625 h 173259"/>
                <a:gd name="connsiteX57" fmla="*/ 160401 w 172021"/>
                <a:gd name="connsiteY57" fmla="*/ 52388 h 173259"/>
                <a:gd name="connsiteX58" fmla="*/ 162973 w 172021"/>
                <a:gd name="connsiteY58" fmla="*/ 59722 h 173259"/>
                <a:gd name="connsiteX59" fmla="*/ 145447 w 172021"/>
                <a:gd name="connsiteY59" fmla="*/ 70485 h 173259"/>
                <a:gd name="connsiteX60" fmla="*/ 143351 w 172021"/>
                <a:gd name="connsiteY60" fmla="*/ 71723 h 173259"/>
                <a:gd name="connsiteX61" fmla="*/ 143827 w 172021"/>
                <a:gd name="connsiteY61" fmla="*/ 74200 h 173259"/>
                <a:gd name="connsiteX62" fmla="*/ 144780 w 172021"/>
                <a:gd name="connsiteY62" fmla="*/ 95536 h 173259"/>
                <a:gd name="connsiteX63" fmla="*/ 144399 w 172021"/>
                <a:gd name="connsiteY63" fmla="*/ 98012 h 173259"/>
                <a:gd name="connsiteX64" fmla="*/ 146590 w 172021"/>
                <a:gd name="connsiteY64" fmla="*/ 99060 h 173259"/>
                <a:gd name="connsiteX65" fmla="*/ 164783 w 172021"/>
                <a:gd name="connsiteY65" fmla="*/ 108109 h 173259"/>
                <a:gd name="connsiteX66" fmla="*/ 162782 w 172021"/>
                <a:gd name="connsiteY66" fmla="*/ 115729 h 173259"/>
                <a:gd name="connsiteX67" fmla="*/ 159449 w 172021"/>
                <a:gd name="connsiteY67" fmla="*/ 122872 h 173259"/>
                <a:gd name="connsiteX68" fmla="*/ 139827 w 172021"/>
                <a:gd name="connsiteY68" fmla="*/ 118015 h 173259"/>
                <a:gd name="connsiteX69" fmla="*/ 137446 w 172021"/>
                <a:gd name="connsiteY69" fmla="*/ 117443 h 173259"/>
                <a:gd name="connsiteX70" fmla="*/ 136112 w 172021"/>
                <a:gd name="connsiteY70" fmla="*/ 119539 h 173259"/>
                <a:gd name="connsiteX71" fmla="*/ 121634 w 172021"/>
                <a:gd name="connsiteY71" fmla="*/ 135541 h 173259"/>
                <a:gd name="connsiteX72" fmla="*/ 119825 w 172021"/>
                <a:gd name="connsiteY72" fmla="*/ 136779 h 173259"/>
                <a:gd name="connsiteX73" fmla="*/ 170021 w 172021"/>
                <a:gd name="connsiteY73" fmla="*/ 102965 h 173259"/>
                <a:gd name="connsiteX74" fmla="*/ 151828 w 172021"/>
                <a:gd name="connsiteY74" fmla="*/ 93821 h 173259"/>
                <a:gd name="connsiteX75" fmla="*/ 150971 w 172021"/>
                <a:gd name="connsiteY75" fmla="*/ 74962 h 173259"/>
                <a:gd name="connsiteX76" fmla="*/ 168307 w 172021"/>
                <a:gd name="connsiteY76" fmla="*/ 64198 h 173259"/>
                <a:gd name="connsiteX77" fmla="*/ 170593 w 172021"/>
                <a:gd name="connsiteY77" fmla="*/ 62389 h 173259"/>
                <a:gd name="connsiteX78" fmla="*/ 170212 w 172021"/>
                <a:gd name="connsiteY78" fmla="*/ 60484 h 173259"/>
                <a:gd name="connsiteX79" fmla="*/ 166592 w 172021"/>
                <a:gd name="connsiteY79" fmla="*/ 49339 h 173259"/>
                <a:gd name="connsiteX80" fmla="*/ 160401 w 172021"/>
                <a:gd name="connsiteY80" fmla="*/ 39243 h 173259"/>
                <a:gd name="connsiteX81" fmla="*/ 158782 w 172021"/>
                <a:gd name="connsiteY81" fmla="*/ 37528 h 173259"/>
                <a:gd name="connsiteX82" fmla="*/ 156591 w 172021"/>
                <a:gd name="connsiteY82" fmla="*/ 38195 h 173259"/>
                <a:gd name="connsiteX83" fmla="*/ 137065 w 172021"/>
                <a:gd name="connsiteY83" fmla="*/ 44863 h 173259"/>
                <a:gd name="connsiteX84" fmla="*/ 123539 w 172021"/>
                <a:gd name="connsiteY84" fmla="*/ 32290 h 173259"/>
                <a:gd name="connsiteX85" fmla="*/ 128587 w 172021"/>
                <a:gd name="connsiteY85" fmla="*/ 10954 h 173259"/>
                <a:gd name="connsiteX86" fmla="*/ 128587 w 172021"/>
                <a:gd name="connsiteY86" fmla="*/ 9144 h 173259"/>
                <a:gd name="connsiteX87" fmla="*/ 127064 w 172021"/>
                <a:gd name="connsiteY87" fmla="*/ 8096 h 173259"/>
                <a:gd name="connsiteX88" fmla="*/ 116681 w 172021"/>
                <a:gd name="connsiteY88" fmla="*/ 2762 h 173259"/>
                <a:gd name="connsiteX89" fmla="*/ 105251 w 172021"/>
                <a:gd name="connsiteY89" fmla="*/ 95 h 173259"/>
                <a:gd name="connsiteX90" fmla="*/ 102965 w 172021"/>
                <a:gd name="connsiteY90" fmla="*/ 0 h 173259"/>
                <a:gd name="connsiteX91" fmla="*/ 101917 w 172021"/>
                <a:gd name="connsiteY91" fmla="*/ 2000 h 173259"/>
                <a:gd name="connsiteX92" fmla="*/ 92678 w 172021"/>
                <a:gd name="connsiteY92" fmla="*/ 20764 h 173259"/>
                <a:gd name="connsiteX93" fmla="*/ 74295 w 172021"/>
                <a:gd name="connsiteY93" fmla="*/ 21336 h 173259"/>
                <a:gd name="connsiteX94" fmla="*/ 63151 w 172021"/>
                <a:gd name="connsiteY94" fmla="*/ 2953 h 173259"/>
                <a:gd name="connsiteX95" fmla="*/ 61817 w 172021"/>
                <a:gd name="connsiteY95" fmla="*/ 1333 h 173259"/>
                <a:gd name="connsiteX96" fmla="*/ 59817 w 172021"/>
                <a:gd name="connsiteY96" fmla="*/ 1810 h 173259"/>
                <a:gd name="connsiteX97" fmla="*/ 48863 w 172021"/>
                <a:gd name="connsiteY97" fmla="*/ 5429 h 173259"/>
                <a:gd name="connsiteX98" fmla="*/ 38862 w 172021"/>
                <a:gd name="connsiteY98" fmla="*/ 11620 h 173259"/>
                <a:gd name="connsiteX99" fmla="*/ 37148 w 172021"/>
                <a:gd name="connsiteY99" fmla="*/ 13240 h 173259"/>
                <a:gd name="connsiteX100" fmla="*/ 37909 w 172021"/>
                <a:gd name="connsiteY100" fmla="*/ 15430 h 173259"/>
                <a:gd name="connsiteX101" fmla="*/ 44386 w 172021"/>
                <a:gd name="connsiteY101" fmla="*/ 34957 h 173259"/>
                <a:gd name="connsiteX102" fmla="*/ 31623 w 172021"/>
                <a:gd name="connsiteY102" fmla="*/ 48673 h 173259"/>
                <a:gd name="connsiteX103" fmla="*/ 11621 w 172021"/>
                <a:gd name="connsiteY103" fmla="*/ 43720 h 173259"/>
                <a:gd name="connsiteX104" fmla="*/ 9334 w 172021"/>
                <a:gd name="connsiteY104" fmla="*/ 43148 h 173259"/>
                <a:gd name="connsiteX105" fmla="*/ 8001 w 172021"/>
                <a:gd name="connsiteY105" fmla="*/ 45148 h 173259"/>
                <a:gd name="connsiteX106" fmla="*/ 2762 w 172021"/>
                <a:gd name="connsiteY106" fmla="*/ 55626 h 173259"/>
                <a:gd name="connsiteX107" fmla="*/ 95 w 172021"/>
                <a:gd name="connsiteY107" fmla="*/ 67151 h 173259"/>
                <a:gd name="connsiteX108" fmla="*/ 0 w 172021"/>
                <a:gd name="connsiteY108" fmla="*/ 69437 h 173259"/>
                <a:gd name="connsiteX109" fmla="*/ 2000 w 172021"/>
                <a:gd name="connsiteY109" fmla="*/ 70485 h 173259"/>
                <a:gd name="connsiteX110" fmla="*/ 20003 w 172021"/>
                <a:gd name="connsiteY110" fmla="*/ 79534 h 173259"/>
                <a:gd name="connsiteX111" fmla="*/ 20574 w 172021"/>
                <a:gd name="connsiteY111" fmla="*/ 98679 h 173259"/>
                <a:gd name="connsiteX112" fmla="*/ 3429 w 172021"/>
                <a:gd name="connsiteY112" fmla="*/ 109252 h 173259"/>
                <a:gd name="connsiteX113" fmla="*/ 1238 w 172021"/>
                <a:gd name="connsiteY113" fmla="*/ 110776 h 173259"/>
                <a:gd name="connsiteX114" fmla="*/ 1714 w 172021"/>
                <a:gd name="connsiteY114" fmla="*/ 112871 h 173259"/>
                <a:gd name="connsiteX115" fmla="*/ 5334 w 172021"/>
                <a:gd name="connsiteY115" fmla="*/ 124016 h 173259"/>
                <a:gd name="connsiteX116" fmla="*/ 11525 w 172021"/>
                <a:gd name="connsiteY116" fmla="*/ 134112 h 173259"/>
                <a:gd name="connsiteX117" fmla="*/ 13145 w 172021"/>
                <a:gd name="connsiteY117" fmla="*/ 135826 h 173259"/>
                <a:gd name="connsiteX118" fmla="*/ 15335 w 172021"/>
                <a:gd name="connsiteY118" fmla="*/ 135065 h 173259"/>
                <a:gd name="connsiteX119" fmla="*/ 34004 w 172021"/>
                <a:gd name="connsiteY119" fmla="*/ 128683 h 173259"/>
                <a:gd name="connsiteX120" fmla="*/ 48101 w 172021"/>
                <a:gd name="connsiteY120" fmla="*/ 141922 h 173259"/>
                <a:gd name="connsiteX121" fmla="*/ 43625 w 172021"/>
                <a:gd name="connsiteY121" fmla="*/ 161068 h 173259"/>
                <a:gd name="connsiteX122" fmla="*/ 42577 w 172021"/>
                <a:gd name="connsiteY122" fmla="*/ 163735 h 173259"/>
                <a:gd name="connsiteX123" fmla="*/ 44863 w 172021"/>
                <a:gd name="connsiteY123" fmla="*/ 165259 h 173259"/>
                <a:gd name="connsiteX124" fmla="*/ 55245 w 172021"/>
                <a:gd name="connsiteY124" fmla="*/ 170593 h 173259"/>
                <a:gd name="connsiteX125" fmla="*/ 66580 w 172021"/>
                <a:gd name="connsiteY125" fmla="*/ 173260 h 173259"/>
                <a:gd name="connsiteX126" fmla="*/ 66770 w 172021"/>
                <a:gd name="connsiteY126" fmla="*/ 173260 h 173259"/>
                <a:gd name="connsiteX127" fmla="*/ 68866 w 172021"/>
                <a:gd name="connsiteY127" fmla="*/ 172879 h 173259"/>
                <a:gd name="connsiteX128" fmla="*/ 70009 w 172021"/>
                <a:gd name="connsiteY128" fmla="*/ 171355 h 173259"/>
                <a:gd name="connsiteX129" fmla="*/ 78772 w 172021"/>
                <a:gd name="connsiteY129" fmla="*/ 153448 h 173259"/>
                <a:gd name="connsiteX130" fmla="*/ 98012 w 172021"/>
                <a:gd name="connsiteY130" fmla="*/ 152686 h 173259"/>
                <a:gd name="connsiteX131" fmla="*/ 108204 w 172021"/>
                <a:gd name="connsiteY131" fmla="*/ 169450 h 173259"/>
                <a:gd name="connsiteX132" fmla="*/ 110490 w 172021"/>
                <a:gd name="connsiteY132" fmla="*/ 172117 h 173259"/>
                <a:gd name="connsiteX133" fmla="*/ 112014 w 172021"/>
                <a:gd name="connsiteY133" fmla="*/ 171450 h 173259"/>
                <a:gd name="connsiteX134" fmla="*/ 123063 w 172021"/>
                <a:gd name="connsiteY134" fmla="*/ 167830 h 173259"/>
                <a:gd name="connsiteX135" fmla="*/ 133159 w 172021"/>
                <a:gd name="connsiteY135" fmla="*/ 161449 h 173259"/>
                <a:gd name="connsiteX136" fmla="*/ 134493 w 172021"/>
                <a:gd name="connsiteY136" fmla="*/ 159829 h 173259"/>
                <a:gd name="connsiteX137" fmla="*/ 134112 w 172021"/>
                <a:gd name="connsiteY137" fmla="*/ 157829 h 173259"/>
                <a:gd name="connsiteX138" fmla="*/ 127825 w 172021"/>
                <a:gd name="connsiteY138" fmla="*/ 138779 h 173259"/>
                <a:gd name="connsiteX139" fmla="*/ 140684 w 172021"/>
                <a:gd name="connsiteY139" fmla="*/ 124587 h 173259"/>
                <a:gd name="connsiteX140" fmla="*/ 159734 w 172021"/>
                <a:gd name="connsiteY140" fmla="*/ 129159 h 173259"/>
                <a:gd name="connsiteX141" fmla="*/ 163259 w 172021"/>
                <a:gd name="connsiteY141" fmla="*/ 129254 h 173259"/>
                <a:gd name="connsiteX142" fmla="*/ 164116 w 172021"/>
                <a:gd name="connsiteY142" fmla="*/ 128016 h 173259"/>
                <a:gd name="connsiteX143" fmla="*/ 169259 w 172021"/>
                <a:gd name="connsiteY143" fmla="*/ 117539 h 173259"/>
                <a:gd name="connsiteX144" fmla="*/ 171926 w 172021"/>
                <a:gd name="connsiteY144" fmla="*/ 106013 h 173259"/>
                <a:gd name="connsiteX145" fmla="*/ 172022 w 172021"/>
                <a:gd name="connsiteY145" fmla="*/ 103727 h 173259"/>
                <a:gd name="connsiteX146" fmla="*/ 170021 w 172021"/>
                <a:gd name="connsiteY146" fmla="*/ 102965 h 17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72021" h="173259">
                  <a:moveTo>
                    <a:pt x="119825" y="136779"/>
                  </a:moveTo>
                  <a:lnTo>
                    <a:pt x="120682" y="139160"/>
                  </a:lnTo>
                  <a:cubicBezTo>
                    <a:pt x="122873" y="145447"/>
                    <a:pt x="125063" y="151828"/>
                    <a:pt x="127064" y="158115"/>
                  </a:cubicBezTo>
                  <a:cubicBezTo>
                    <a:pt x="124873" y="159639"/>
                    <a:pt x="122682" y="160972"/>
                    <a:pt x="120396" y="162020"/>
                  </a:cubicBezTo>
                  <a:cubicBezTo>
                    <a:pt x="118015" y="163068"/>
                    <a:pt x="115633" y="164020"/>
                    <a:pt x="113062" y="164687"/>
                  </a:cubicBezTo>
                  <a:cubicBezTo>
                    <a:pt x="109537" y="159068"/>
                    <a:pt x="106108" y="153257"/>
                    <a:pt x="102775" y="147542"/>
                  </a:cubicBezTo>
                  <a:lnTo>
                    <a:pt x="101441" y="145351"/>
                  </a:lnTo>
                  <a:lnTo>
                    <a:pt x="99060" y="145923"/>
                  </a:lnTo>
                  <a:cubicBezTo>
                    <a:pt x="91916" y="147542"/>
                    <a:pt x="84582" y="147828"/>
                    <a:pt x="77343" y="146780"/>
                  </a:cubicBezTo>
                  <a:lnTo>
                    <a:pt x="74867" y="146399"/>
                  </a:lnTo>
                  <a:lnTo>
                    <a:pt x="73819" y="148685"/>
                  </a:lnTo>
                  <a:cubicBezTo>
                    <a:pt x="70961" y="154781"/>
                    <a:pt x="68104" y="160687"/>
                    <a:pt x="65151" y="166497"/>
                  </a:cubicBezTo>
                  <a:cubicBezTo>
                    <a:pt x="62579" y="166021"/>
                    <a:pt x="60103" y="165449"/>
                    <a:pt x="57626" y="164497"/>
                  </a:cubicBezTo>
                  <a:cubicBezTo>
                    <a:pt x="55150" y="163544"/>
                    <a:pt x="52864" y="162496"/>
                    <a:pt x="50578" y="161163"/>
                  </a:cubicBezTo>
                  <a:cubicBezTo>
                    <a:pt x="51911" y="155067"/>
                    <a:pt x="53531" y="148495"/>
                    <a:pt x="55340" y="141732"/>
                  </a:cubicBezTo>
                  <a:lnTo>
                    <a:pt x="56007" y="139351"/>
                  </a:lnTo>
                  <a:lnTo>
                    <a:pt x="53911" y="138017"/>
                  </a:lnTo>
                  <a:cubicBezTo>
                    <a:pt x="47720" y="134112"/>
                    <a:pt x="42386" y="129064"/>
                    <a:pt x="38005" y="123158"/>
                  </a:cubicBezTo>
                  <a:lnTo>
                    <a:pt x="36481" y="121063"/>
                  </a:lnTo>
                  <a:lnTo>
                    <a:pt x="34100" y="121920"/>
                  </a:lnTo>
                  <a:cubicBezTo>
                    <a:pt x="27813" y="124111"/>
                    <a:pt x="21526" y="126301"/>
                    <a:pt x="15430" y="128302"/>
                  </a:cubicBezTo>
                  <a:cubicBezTo>
                    <a:pt x="13907" y="126111"/>
                    <a:pt x="12573" y="123920"/>
                    <a:pt x="11525" y="121539"/>
                  </a:cubicBezTo>
                  <a:cubicBezTo>
                    <a:pt x="10382" y="119158"/>
                    <a:pt x="9525" y="116776"/>
                    <a:pt x="8858" y="114205"/>
                  </a:cubicBezTo>
                  <a:cubicBezTo>
                    <a:pt x="14478" y="110585"/>
                    <a:pt x="20288" y="107061"/>
                    <a:pt x="26003" y="103727"/>
                  </a:cubicBezTo>
                  <a:lnTo>
                    <a:pt x="28099" y="102489"/>
                  </a:lnTo>
                  <a:lnTo>
                    <a:pt x="27623" y="100108"/>
                  </a:lnTo>
                  <a:cubicBezTo>
                    <a:pt x="26099" y="92964"/>
                    <a:pt x="25908" y="85725"/>
                    <a:pt x="27051" y="78391"/>
                  </a:cubicBezTo>
                  <a:lnTo>
                    <a:pt x="27432" y="75914"/>
                  </a:lnTo>
                  <a:lnTo>
                    <a:pt x="25146" y="74867"/>
                  </a:lnTo>
                  <a:cubicBezTo>
                    <a:pt x="19050" y="71914"/>
                    <a:pt x="13049" y="68961"/>
                    <a:pt x="7144" y="65913"/>
                  </a:cubicBezTo>
                  <a:cubicBezTo>
                    <a:pt x="7525" y="63246"/>
                    <a:pt x="8192" y="60769"/>
                    <a:pt x="9144" y="58293"/>
                  </a:cubicBezTo>
                  <a:cubicBezTo>
                    <a:pt x="10001" y="55816"/>
                    <a:pt x="11144" y="53530"/>
                    <a:pt x="12478" y="51244"/>
                  </a:cubicBezTo>
                  <a:cubicBezTo>
                    <a:pt x="18955" y="52768"/>
                    <a:pt x="25622" y="54388"/>
                    <a:pt x="32290" y="56197"/>
                  </a:cubicBezTo>
                  <a:lnTo>
                    <a:pt x="34576" y="56769"/>
                  </a:lnTo>
                  <a:lnTo>
                    <a:pt x="35909" y="54769"/>
                  </a:lnTo>
                  <a:cubicBezTo>
                    <a:pt x="39815" y="48673"/>
                    <a:pt x="44672" y="43434"/>
                    <a:pt x="50387" y="39148"/>
                  </a:cubicBezTo>
                  <a:lnTo>
                    <a:pt x="52387" y="37624"/>
                  </a:lnTo>
                  <a:lnTo>
                    <a:pt x="51530" y="35338"/>
                  </a:lnTo>
                  <a:cubicBezTo>
                    <a:pt x="49244" y="28765"/>
                    <a:pt x="47053" y="22289"/>
                    <a:pt x="44958" y="15811"/>
                  </a:cubicBezTo>
                  <a:cubicBezTo>
                    <a:pt x="47149" y="14288"/>
                    <a:pt x="49340" y="12954"/>
                    <a:pt x="51721" y="11906"/>
                  </a:cubicBezTo>
                  <a:cubicBezTo>
                    <a:pt x="54102" y="10763"/>
                    <a:pt x="56483" y="9906"/>
                    <a:pt x="59055" y="9239"/>
                  </a:cubicBezTo>
                  <a:cubicBezTo>
                    <a:pt x="62579" y="14859"/>
                    <a:pt x="66199" y="20955"/>
                    <a:pt x="69818" y="27146"/>
                  </a:cubicBezTo>
                  <a:lnTo>
                    <a:pt x="70961" y="29242"/>
                  </a:lnTo>
                  <a:lnTo>
                    <a:pt x="73342" y="28765"/>
                  </a:lnTo>
                  <a:cubicBezTo>
                    <a:pt x="80200" y="27241"/>
                    <a:pt x="87249" y="26956"/>
                    <a:pt x="94202" y="28003"/>
                  </a:cubicBezTo>
                  <a:lnTo>
                    <a:pt x="96679" y="28384"/>
                  </a:lnTo>
                  <a:lnTo>
                    <a:pt x="97726" y="26098"/>
                  </a:lnTo>
                  <a:cubicBezTo>
                    <a:pt x="100679" y="19717"/>
                    <a:pt x="103823" y="13430"/>
                    <a:pt x="106775" y="7429"/>
                  </a:cubicBezTo>
                  <a:cubicBezTo>
                    <a:pt x="109347" y="7810"/>
                    <a:pt x="111824" y="8477"/>
                    <a:pt x="114300" y="9430"/>
                  </a:cubicBezTo>
                  <a:cubicBezTo>
                    <a:pt x="116776" y="10382"/>
                    <a:pt x="119062" y="11430"/>
                    <a:pt x="121349" y="12764"/>
                  </a:cubicBezTo>
                  <a:cubicBezTo>
                    <a:pt x="119825" y="19336"/>
                    <a:pt x="118110" y="26194"/>
                    <a:pt x="116395" y="33147"/>
                  </a:cubicBezTo>
                  <a:lnTo>
                    <a:pt x="115729" y="35528"/>
                  </a:lnTo>
                  <a:lnTo>
                    <a:pt x="117824" y="36862"/>
                  </a:lnTo>
                  <a:cubicBezTo>
                    <a:pt x="123730" y="40672"/>
                    <a:pt x="128968" y="45529"/>
                    <a:pt x="133159" y="51149"/>
                  </a:cubicBezTo>
                  <a:lnTo>
                    <a:pt x="134684" y="53150"/>
                  </a:lnTo>
                  <a:lnTo>
                    <a:pt x="137065" y="52292"/>
                  </a:lnTo>
                  <a:cubicBezTo>
                    <a:pt x="143447" y="50006"/>
                    <a:pt x="150019" y="47720"/>
                    <a:pt x="156496" y="45625"/>
                  </a:cubicBezTo>
                  <a:cubicBezTo>
                    <a:pt x="158020" y="47815"/>
                    <a:pt x="159353" y="50101"/>
                    <a:pt x="160401" y="52388"/>
                  </a:cubicBezTo>
                  <a:cubicBezTo>
                    <a:pt x="161449" y="54673"/>
                    <a:pt x="162306" y="57150"/>
                    <a:pt x="162973" y="59722"/>
                  </a:cubicBezTo>
                  <a:cubicBezTo>
                    <a:pt x="157258" y="63341"/>
                    <a:pt x="151352" y="66961"/>
                    <a:pt x="145447" y="70485"/>
                  </a:cubicBezTo>
                  <a:lnTo>
                    <a:pt x="143351" y="71723"/>
                  </a:lnTo>
                  <a:lnTo>
                    <a:pt x="143827" y="74200"/>
                  </a:lnTo>
                  <a:cubicBezTo>
                    <a:pt x="145447" y="81248"/>
                    <a:pt x="145733" y="88392"/>
                    <a:pt x="144780" y="95536"/>
                  </a:cubicBezTo>
                  <a:lnTo>
                    <a:pt x="144399" y="98012"/>
                  </a:lnTo>
                  <a:lnTo>
                    <a:pt x="146590" y="99060"/>
                  </a:lnTo>
                  <a:cubicBezTo>
                    <a:pt x="152686" y="102013"/>
                    <a:pt x="158591" y="104966"/>
                    <a:pt x="164783" y="108109"/>
                  </a:cubicBezTo>
                  <a:cubicBezTo>
                    <a:pt x="164306" y="110776"/>
                    <a:pt x="163735" y="113252"/>
                    <a:pt x="162782" y="115729"/>
                  </a:cubicBezTo>
                  <a:cubicBezTo>
                    <a:pt x="161925" y="118205"/>
                    <a:pt x="160877" y="120491"/>
                    <a:pt x="159449" y="122872"/>
                  </a:cubicBezTo>
                  <a:cubicBezTo>
                    <a:pt x="152781" y="121348"/>
                    <a:pt x="146209" y="119634"/>
                    <a:pt x="139827" y="118015"/>
                  </a:cubicBezTo>
                  <a:lnTo>
                    <a:pt x="137446" y="117443"/>
                  </a:lnTo>
                  <a:lnTo>
                    <a:pt x="136112" y="119539"/>
                  </a:lnTo>
                  <a:cubicBezTo>
                    <a:pt x="132302" y="125730"/>
                    <a:pt x="127349" y="131159"/>
                    <a:pt x="121634" y="135541"/>
                  </a:cubicBezTo>
                  <a:lnTo>
                    <a:pt x="119825" y="136779"/>
                  </a:lnTo>
                  <a:close/>
                  <a:moveTo>
                    <a:pt x="170021" y="102965"/>
                  </a:moveTo>
                  <a:cubicBezTo>
                    <a:pt x="164211" y="99917"/>
                    <a:pt x="158115" y="96869"/>
                    <a:pt x="151828" y="93821"/>
                  </a:cubicBezTo>
                  <a:cubicBezTo>
                    <a:pt x="152495" y="87535"/>
                    <a:pt x="152209" y="81153"/>
                    <a:pt x="150971" y="74962"/>
                  </a:cubicBezTo>
                  <a:cubicBezTo>
                    <a:pt x="157448" y="71152"/>
                    <a:pt x="163259" y="67532"/>
                    <a:pt x="168307" y="64198"/>
                  </a:cubicBezTo>
                  <a:lnTo>
                    <a:pt x="170593" y="62389"/>
                  </a:lnTo>
                  <a:lnTo>
                    <a:pt x="170212" y="60484"/>
                  </a:lnTo>
                  <a:cubicBezTo>
                    <a:pt x="169355" y="56483"/>
                    <a:pt x="168211" y="52768"/>
                    <a:pt x="166592" y="49339"/>
                  </a:cubicBezTo>
                  <a:cubicBezTo>
                    <a:pt x="164973" y="45815"/>
                    <a:pt x="162973" y="42577"/>
                    <a:pt x="160401" y="39243"/>
                  </a:cubicBezTo>
                  <a:lnTo>
                    <a:pt x="158782" y="37528"/>
                  </a:lnTo>
                  <a:lnTo>
                    <a:pt x="156591" y="38195"/>
                  </a:lnTo>
                  <a:cubicBezTo>
                    <a:pt x="150209" y="40291"/>
                    <a:pt x="143637" y="42481"/>
                    <a:pt x="137065" y="44863"/>
                  </a:cubicBezTo>
                  <a:cubicBezTo>
                    <a:pt x="133159" y="40005"/>
                    <a:pt x="128587" y="35814"/>
                    <a:pt x="123539" y="32290"/>
                  </a:cubicBezTo>
                  <a:cubicBezTo>
                    <a:pt x="125444" y="24955"/>
                    <a:pt x="127064" y="18002"/>
                    <a:pt x="128587" y="10954"/>
                  </a:cubicBezTo>
                  <a:lnTo>
                    <a:pt x="128587" y="9144"/>
                  </a:lnTo>
                  <a:lnTo>
                    <a:pt x="127064" y="8096"/>
                  </a:lnTo>
                  <a:cubicBezTo>
                    <a:pt x="123730" y="5810"/>
                    <a:pt x="120301" y="4096"/>
                    <a:pt x="116681" y="2762"/>
                  </a:cubicBezTo>
                  <a:cubicBezTo>
                    <a:pt x="113062" y="1429"/>
                    <a:pt x="109347" y="571"/>
                    <a:pt x="105251" y="95"/>
                  </a:cubicBezTo>
                  <a:lnTo>
                    <a:pt x="102965" y="0"/>
                  </a:lnTo>
                  <a:lnTo>
                    <a:pt x="101917" y="2000"/>
                  </a:lnTo>
                  <a:cubicBezTo>
                    <a:pt x="98869" y="8001"/>
                    <a:pt x="95726" y="14288"/>
                    <a:pt x="92678" y="20764"/>
                  </a:cubicBezTo>
                  <a:cubicBezTo>
                    <a:pt x="86487" y="20098"/>
                    <a:pt x="80391" y="20288"/>
                    <a:pt x="74295" y="21336"/>
                  </a:cubicBezTo>
                  <a:cubicBezTo>
                    <a:pt x="70675" y="15049"/>
                    <a:pt x="66961" y="8858"/>
                    <a:pt x="63151" y="2953"/>
                  </a:cubicBezTo>
                  <a:lnTo>
                    <a:pt x="61817" y="1333"/>
                  </a:lnTo>
                  <a:lnTo>
                    <a:pt x="59817" y="1810"/>
                  </a:lnTo>
                  <a:cubicBezTo>
                    <a:pt x="55912" y="2667"/>
                    <a:pt x="52292" y="3810"/>
                    <a:pt x="48863" y="5429"/>
                  </a:cubicBezTo>
                  <a:cubicBezTo>
                    <a:pt x="45339" y="7048"/>
                    <a:pt x="42100" y="9049"/>
                    <a:pt x="38862" y="11620"/>
                  </a:cubicBezTo>
                  <a:lnTo>
                    <a:pt x="37148" y="13240"/>
                  </a:lnTo>
                  <a:lnTo>
                    <a:pt x="37909" y="15430"/>
                  </a:lnTo>
                  <a:cubicBezTo>
                    <a:pt x="39910" y="21907"/>
                    <a:pt x="42100" y="28480"/>
                    <a:pt x="44386" y="34957"/>
                  </a:cubicBezTo>
                  <a:cubicBezTo>
                    <a:pt x="39529" y="38862"/>
                    <a:pt x="35242" y="43529"/>
                    <a:pt x="31623" y="48673"/>
                  </a:cubicBezTo>
                  <a:cubicBezTo>
                    <a:pt x="24860" y="46863"/>
                    <a:pt x="18097" y="45244"/>
                    <a:pt x="11621" y="43720"/>
                  </a:cubicBezTo>
                  <a:lnTo>
                    <a:pt x="9334" y="43148"/>
                  </a:lnTo>
                  <a:lnTo>
                    <a:pt x="8001" y="45148"/>
                  </a:lnTo>
                  <a:cubicBezTo>
                    <a:pt x="5810" y="48673"/>
                    <a:pt x="4096" y="52102"/>
                    <a:pt x="2762" y="55626"/>
                  </a:cubicBezTo>
                  <a:cubicBezTo>
                    <a:pt x="1429" y="59341"/>
                    <a:pt x="571" y="62960"/>
                    <a:pt x="95" y="67151"/>
                  </a:cubicBezTo>
                  <a:lnTo>
                    <a:pt x="0" y="69437"/>
                  </a:lnTo>
                  <a:lnTo>
                    <a:pt x="2000" y="70485"/>
                  </a:lnTo>
                  <a:cubicBezTo>
                    <a:pt x="7810" y="73533"/>
                    <a:pt x="13907" y="76581"/>
                    <a:pt x="20003" y="79534"/>
                  </a:cubicBezTo>
                  <a:cubicBezTo>
                    <a:pt x="19336" y="85916"/>
                    <a:pt x="19526" y="92393"/>
                    <a:pt x="20574" y="98679"/>
                  </a:cubicBezTo>
                  <a:cubicBezTo>
                    <a:pt x="14573" y="102203"/>
                    <a:pt x="8954" y="105727"/>
                    <a:pt x="3429" y="109252"/>
                  </a:cubicBezTo>
                  <a:lnTo>
                    <a:pt x="1238" y="110776"/>
                  </a:lnTo>
                  <a:lnTo>
                    <a:pt x="1714" y="112871"/>
                  </a:lnTo>
                  <a:cubicBezTo>
                    <a:pt x="2572" y="116872"/>
                    <a:pt x="3715" y="120491"/>
                    <a:pt x="5334" y="124016"/>
                  </a:cubicBezTo>
                  <a:cubicBezTo>
                    <a:pt x="6953" y="127540"/>
                    <a:pt x="8954" y="130778"/>
                    <a:pt x="11525" y="134112"/>
                  </a:cubicBezTo>
                  <a:lnTo>
                    <a:pt x="13145" y="135826"/>
                  </a:lnTo>
                  <a:lnTo>
                    <a:pt x="15335" y="135065"/>
                  </a:lnTo>
                  <a:cubicBezTo>
                    <a:pt x="21431" y="133064"/>
                    <a:pt x="27718" y="130969"/>
                    <a:pt x="34004" y="128683"/>
                  </a:cubicBezTo>
                  <a:cubicBezTo>
                    <a:pt x="38100" y="133731"/>
                    <a:pt x="42767" y="138208"/>
                    <a:pt x="48101" y="141922"/>
                  </a:cubicBezTo>
                  <a:cubicBezTo>
                    <a:pt x="46387" y="148495"/>
                    <a:pt x="44958" y="154781"/>
                    <a:pt x="43625" y="161068"/>
                  </a:cubicBezTo>
                  <a:lnTo>
                    <a:pt x="42577" y="163735"/>
                  </a:lnTo>
                  <a:lnTo>
                    <a:pt x="44863" y="165259"/>
                  </a:lnTo>
                  <a:cubicBezTo>
                    <a:pt x="48292" y="167545"/>
                    <a:pt x="51625" y="169259"/>
                    <a:pt x="55245" y="170593"/>
                  </a:cubicBezTo>
                  <a:cubicBezTo>
                    <a:pt x="58769" y="171926"/>
                    <a:pt x="62484" y="172784"/>
                    <a:pt x="66580" y="173260"/>
                  </a:cubicBezTo>
                  <a:lnTo>
                    <a:pt x="66770" y="173260"/>
                  </a:lnTo>
                  <a:lnTo>
                    <a:pt x="68866" y="172879"/>
                  </a:lnTo>
                  <a:lnTo>
                    <a:pt x="70009" y="171355"/>
                  </a:lnTo>
                  <a:cubicBezTo>
                    <a:pt x="72866" y="165830"/>
                    <a:pt x="75724" y="159925"/>
                    <a:pt x="78772" y="153448"/>
                  </a:cubicBezTo>
                  <a:cubicBezTo>
                    <a:pt x="85249" y="154210"/>
                    <a:pt x="91726" y="153924"/>
                    <a:pt x="98012" y="152686"/>
                  </a:cubicBezTo>
                  <a:cubicBezTo>
                    <a:pt x="101346" y="158210"/>
                    <a:pt x="104775" y="163925"/>
                    <a:pt x="108204" y="169450"/>
                  </a:cubicBezTo>
                  <a:lnTo>
                    <a:pt x="110490" y="172117"/>
                  </a:lnTo>
                  <a:lnTo>
                    <a:pt x="112014" y="171450"/>
                  </a:lnTo>
                  <a:cubicBezTo>
                    <a:pt x="116015" y="170593"/>
                    <a:pt x="119539" y="169450"/>
                    <a:pt x="123063" y="167830"/>
                  </a:cubicBezTo>
                  <a:cubicBezTo>
                    <a:pt x="126492" y="166211"/>
                    <a:pt x="129731" y="164116"/>
                    <a:pt x="133159" y="161449"/>
                  </a:cubicBezTo>
                  <a:lnTo>
                    <a:pt x="134493" y="159829"/>
                  </a:lnTo>
                  <a:lnTo>
                    <a:pt x="134112" y="157829"/>
                  </a:lnTo>
                  <a:cubicBezTo>
                    <a:pt x="132207" y="151638"/>
                    <a:pt x="130016" y="145256"/>
                    <a:pt x="127825" y="138779"/>
                  </a:cubicBezTo>
                  <a:cubicBezTo>
                    <a:pt x="132778" y="134684"/>
                    <a:pt x="137065" y="129921"/>
                    <a:pt x="140684" y="124587"/>
                  </a:cubicBezTo>
                  <a:cubicBezTo>
                    <a:pt x="147637" y="126397"/>
                    <a:pt x="154115" y="127921"/>
                    <a:pt x="159734" y="129159"/>
                  </a:cubicBezTo>
                  <a:lnTo>
                    <a:pt x="163259" y="129254"/>
                  </a:lnTo>
                  <a:lnTo>
                    <a:pt x="164116" y="128016"/>
                  </a:lnTo>
                  <a:cubicBezTo>
                    <a:pt x="166307" y="124587"/>
                    <a:pt x="168021" y="121158"/>
                    <a:pt x="169259" y="117539"/>
                  </a:cubicBezTo>
                  <a:cubicBezTo>
                    <a:pt x="170593" y="113824"/>
                    <a:pt x="171450" y="110109"/>
                    <a:pt x="171926" y="106013"/>
                  </a:cubicBezTo>
                  <a:lnTo>
                    <a:pt x="172022" y="103727"/>
                  </a:lnTo>
                  <a:lnTo>
                    <a:pt x="170021" y="102965"/>
                  </a:lnTo>
                  <a:close/>
                </a:path>
              </a:pathLst>
            </a:custGeom>
            <a:grpFill/>
            <a:ln w="9525" cap="flat">
              <a:no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AU" sz="1092" b="0" i="0" u="none" strike="noStrike" kern="1200" cap="none" spc="0" normalizeH="0" baseline="0" noProof="0" dirty="0">
                <a:ln>
                  <a:noFill/>
                </a:ln>
                <a:solidFill>
                  <a:prstClr val="black"/>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528751D9-4D5F-4AF3-9491-C4FAA3F7573E}"/>
                </a:ext>
              </a:extLst>
            </p:cNvPr>
            <p:cNvSpPr/>
            <p:nvPr/>
          </p:nvSpPr>
          <p:spPr>
            <a:xfrm>
              <a:off x="6552872" y="7799440"/>
              <a:ext cx="142684" cy="144303"/>
            </a:xfrm>
            <a:custGeom>
              <a:avLst/>
              <a:gdLst>
                <a:gd name="connsiteX0" fmla="*/ 27718 w 142684"/>
                <a:gd name="connsiteY0" fmla="*/ 53912 h 144303"/>
                <a:gd name="connsiteX1" fmla="*/ 28766 w 142684"/>
                <a:gd name="connsiteY1" fmla="*/ 51721 h 144303"/>
                <a:gd name="connsiteX2" fmla="*/ 38767 w 142684"/>
                <a:gd name="connsiteY2" fmla="*/ 38005 h 144303"/>
                <a:gd name="connsiteX3" fmla="*/ 40577 w 142684"/>
                <a:gd name="connsiteY3" fmla="*/ 36195 h 144303"/>
                <a:gd name="connsiteX4" fmla="*/ 39433 w 142684"/>
                <a:gd name="connsiteY4" fmla="*/ 34004 h 144303"/>
                <a:gd name="connsiteX5" fmla="*/ 32576 w 142684"/>
                <a:gd name="connsiteY5" fmla="*/ 19431 h 144303"/>
                <a:gd name="connsiteX6" fmla="*/ 37148 w 142684"/>
                <a:gd name="connsiteY6" fmla="*/ 16002 h 144303"/>
                <a:gd name="connsiteX7" fmla="*/ 42196 w 142684"/>
                <a:gd name="connsiteY7" fmla="*/ 13430 h 144303"/>
                <a:gd name="connsiteX8" fmla="*/ 52197 w 142684"/>
                <a:gd name="connsiteY8" fmla="*/ 26289 h 144303"/>
                <a:gd name="connsiteX9" fmla="*/ 53626 w 142684"/>
                <a:gd name="connsiteY9" fmla="*/ 28289 h 144303"/>
                <a:gd name="connsiteX10" fmla="*/ 55912 w 142684"/>
                <a:gd name="connsiteY10" fmla="*/ 27527 h 144303"/>
                <a:gd name="connsiteX11" fmla="*/ 72390 w 142684"/>
                <a:gd name="connsiteY11" fmla="*/ 24955 h 144303"/>
                <a:gd name="connsiteX12" fmla="*/ 74867 w 142684"/>
                <a:gd name="connsiteY12" fmla="*/ 25051 h 144303"/>
                <a:gd name="connsiteX13" fmla="*/ 75629 w 142684"/>
                <a:gd name="connsiteY13" fmla="*/ 22765 h 144303"/>
                <a:gd name="connsiteX14" fmla="*/ 80963 w 142684"/>
                <a:gd name="connsiteY14" fmla="*/ 7334 h 144303"/>
                <a:gd name="connsiteX15" fmla="*/ 86582 w 142684"/>
                <a:gd name="connsiteY15" fmla="*/ 8192 h 144303"/>
                <a:gd name="connsiteX16" fmla="*/ 92012 w 142684"/>
                <a:gd name="connsiteY16" fmla="*/ 10001 h 144303"/>
                <a:gd name="connsiteX17" fmla="*/ 90011 w 142684"/>
                <a:gd name="connsiteY17" fmla="*/ 26289 h 144303"/>
                <a:gd name="connsiteX18" fmla="*/ 89726 w 142684"/>
                <a:gd name="connsiteY18" fmla="*/ 28765 h 144303"/>
                <a:gd name="connsiteX19" fmla="*/ 91916 w 142684"/>
                <a:gd name="connsiteY19" fmla="*/ 29813 h 144303"/>
                <a:gd name="connsiteX20" fmla="*/ 105442 w 142684"/>
                <a:gd name="connsiteY20" fmla="*/ 39624 h 144303"/>
                <a:gd name="connsiteX21" fmla="*/ 107156 w 142684"/>
                <a:gd name="connsiteY21" fmla="*/ 41434 h 144303"/>
                <a:gd name="connsiteX22" fmla="*/ 109347 w 142684"/>
                <a:gd name="connsiteY22" fmla="*/ 40291 h 144303"/>
                <a:gd name="connsiteX23" fmla="*/ 123825 w 142684"/>
                <a:gd name="connsiteY23" fmla="*/ 33242 h 144303"/>
                <a:gd name="connsiteX24" fmla="*/ 127254 w 142684"/>
                <a:gd name="connsiteY24" fmla="*/ 37814 h 144303"/>
                <a:gd name="connsiteX25" fmla="*/ 129826 w 142684"/>
                <a:gd name="connsiteY25" fmla="*/ 42863 h 144303"/>
                <a:gd name="connsiteX26" fmla="*/ 117158 w 142684"/>
                <a:gd name="connsiteY26" fmla="*/ 52864 h 144303"/>
                <a:gd name="connsiteX27" fmla="*/ 115253 w 142684"/>
                <a:gd name="connsiteY27" fmla="*/ 54388 h 144303"/>
                <a:gd name="connsiteX28" fmla="*/ 116110 w 142684"/>
                <a:gd name="connsiteY28" fmla="*/ 56769 h 144303"/>
                <a:gd name="connsiteX29" fmla="*/ 118872 w 142684"/>
                <a:gd name="connsiteY29" fmla="*/ 73533 h 144303"/>
                <a:gd name="connsiteX30" fmla="*/ 118777 w 142684"/>
                <a:gd name="connsiteY30" fmla="*/ 76010 h 144303"/>
                <a:gd name="connsiteX31" fmla="*/ 121158 w 142684"/>
                <a:gd name="connsiteY31" fmla="*/ 76867 h 144303"/>
                <a:gd name="connsiteX32" fmla="*/ 136112 w 142684"/>
                <a:gd name="connsiteY32" fmla="*/ 82106 h 144303"/>
                <a:gd name="connsiteX33" fmla="*/ 135255 w 142684"/>
                <a:gd name="connsiteY33" fmla="*/ 87821 h 144303"/>
                <a:gd name="connsiteX34" fmla="*/ 133541 w 142684"/>
                <a:gd name="connsiteY34" fmla="*/ 93250 h 144303"/>
                <a:gd name="connsiteX35" fmla="*/ 117824 w 142684"/>
                <a:gd name="connsiteY35" fmla="*/ 91250 h 144303"/>
                <a:gd name="connsiteX36" fmla="*/ 115443 w 142684"/>
                <a:gd name="connsiteY36" fmla="*/ 90964 h 144303"/>
                <a:gd name="connsiteX37" fmla="*/ 114395 w 142684"/>
                <a:gd name="connsiteY37" fmla="*/ 93155 h 144303"/>
                <a:gd name="connsiteX38" fmla="*/ 104489 w 142684"/>
                <a:gd name="connsiteY38" fmla="*/ 107252 h 144303"/>
                <a:gd name="connsiteX39" fmla="*/ 102680 w 142684"/>
                <a:gd name="connsiteY39" fmla="*/ 108966 h 144303"/>
                <a:gd name="connsiteX40" fmla="*/ 103823 w 142684"/>
                <a:gd name="connsiteY40" fmla="*/ 111157 h 144303"/>
                <a:gd name="connsiteX41" fmla="*/ 110585 w 142684"/>
                <a:gd name="connsiteY41" fmla="*/ 125254 h 144303"/>
                <a:gd name="connsiteX42" fmla="*/ 106013 w 142684"/>
                <a:gd name="connsiteY42" fmla="*/ 128683 h 144303"/>
                <a:gd name="connsiteX43" fmla="*/ 100965 w 142684"/>
                <a:gd name="connsiteY43" fmla="*/ 131255 h 144303"/>
                <a:gd name="connsiteX44" fmla="*/ 91440 w 142684"/>
                <a:gd name="connsiteY44" fmla="*/ 118872 h 144303"/>
                <a:gd name="connsiteX45" fmla="*/ 89916 w 142684"/>
                <a:gd name="connsiteY45" fmla="*/ 116872 h 144303"/>
                <a:gd name="connsiteX46" fmla="*/ 87535 w 142684"/>
                <a:gd name="connsiteY46" fmla="*/ 117729 h 144303"/>
                <a:gd name="connsiteX47" fmla="*/ 70485 w 142684"/>
                <a:gd name="connsiteY47" fmla="*/ 120587 h 144303"/>
                <a:gd name="connsiteX48" fmla="*/ 68008 w 142684"/>
                <a:gd name="connsiteY48" fmla="*/ 120491 h 144303"/>
                <a:gd name="connsiteX49" fmla="*/ 67247 w 142684"/>
                <a:gd name="connsiteY49" fmla="*/ 122873 h 144303"/>
                <a:gd name="connsiteX50" fmla="*/ 62198 w 142684"/>
                <a:gd name="connsiteY50" fmla="*/ 137541 h 144303"/>
                <a:gd name="connsiteX51" fmla="*/ 56579 w 142684"/>
                <a:gd name="connsiteY51" fmla="*/ 136684 h 144303"/>
                <a:gd name="connsiteX52" fmla="*/ 51245 w 142684"/>
                <a:gd name="connsiteY52" fmla="*/ 134874 h 144303"/>
                <a:gd name="connsiteX53" fmla="*/ 53054 w 142684"/>
                <a:gd name="connsiteY53" fmla="*/ 119348 h 144303"/>
                <a:gd name="connsiteX54" fmla="*/ 53435 w 142684"/>
                <a:gd name="connsiteY54" fmla="*/ 116872 h 144303"/>
                <a:gd name="connsiteX55" fmla="*/ 51245 w 142684"/>
                <a:gd name="connsiteY55" fmla="*/ 115824 h 144303"/>
                <a:gd name="connsiteX56" fmla="*/ 37243 w 142684"/>
                <a:gd name="connsiteY56" fmla="*/ 105537 h 144303"/>
                <a:gd name="connsiteX57" fmla="*/ 35528 w 142684"/>
                <a:gd name="connsiteY57" fmla="*/ 103727 h 144303"/>
                <a:gd name="connsiteX58" fmla="*/ 33338 w 142684"/>
                <a:gd name="connsiteY58" fmla="*/ 104870 h 144303"/>
                <a:gd name="connsiteX59" fmla="*/ 19431 w 142684"/>
                <a:gd name="connsiteY59" fmla="*/ 111633 h 144303"/>
                <a:gd name="connsiteX60" fmla="*/ 16002 w 142684"/>
                <a:gd name="connsiteY60" fmla="*/ 106966 h 144303"/>
                <a:gd name="connsiteX61" fmla="*/ 13430 w 142684"/>
                <a:gd name="connsiteY61" fmla="*/ 101918 h 144303"/>
                <a:gd name="connsiteX62" fmla="*/ 25718 w 142684"/>
                <a:gd name="connsiteY62" fmla="*/ 92202 h 144303"/>
                <a:gd name="connsiteX63" fmla="*/ 27718 w 142684"/>
                <a:gd name="connsiteY63" fmla="*/ 90678 h 144303"/>
                <a:gd name="connsiteX64" fmla="*/ 26861 w 142684"/>
                <a:gd name="connsiteY64" fmla="*/ 88392 h 144303"/>
                <a:gd name="connsiteX65" fmla="*/ 24384 w 142684"/>
                <a:gd name="connsiteY65" fmla="*/ 71342 h 144303"/>
                <a:gd name="connsiteX66" fmla="*/ 24384 w 142684"/>
                <a:gd name="connsiteY66" fmla="*/ 68771 h 144303"/>
                <a:gd name="connsiteX67" fmla="*/ 22003 w 142684"/>
                <a:gd name="connsiteY67" fmla="*/ 68009 h 144303"/>
                <a:gd name="connsiteX68" fmla="*/ 7239 w 142684"/>
                <a:gd name="connsiteY68" fmla="*/ 62770 h 144303"/>
                <a:gd name="connsiteX69" fmla="*/ 8001 w 142684"/>
                <a:gd name="connsiteY69" fmla="*/ 57150 h 144303"/>
                <a:gd name="connsiteX70" fmla="*/ 9811 w 142684"/>
                <a:gd name="connsiteY70" fmla="*/ 51721 h 144303"/>
                <a:gd name="connsiteX71" fmla="*/ 25622 w 142684"/>
                <a:gd name="connsiteY71" fmla="*/ 53721 h 144303"/>
                <a:gd name="connsiteX72" fmla="*/ 27718 w 142684"/>
                <a:gd name="connsiteY72" fmla="*/ 53912 h 144303"/>
                <a:gd name="connsiteX73" fmla="*/ 2381 w 142684"/>
                <a:gd name="connsiteY73" fmla="*/ 68294 h 144303"/>
                <a:gd name="connsiteX74" fmla="*/ 17240 w 142684"/>
                <a:gd name="connsiteY74" fmla="*/ 73628 h 144303"/>
                <a:gd name="connsiteX75" fmla="*/ 19431 w 142684"/>
                <a:gd name="connsiteY75" fmla="*/ 88202 h 144303"/>
                <a:gd name="connsiteX76" fmla="*/ 5144 w 142684"/>
                <a:gd name="connsiteY76" fmla="*/ 99536 h 144303"/>
                <a:gd name="connsiteX77" fmla="*/ 5906 w 142684"/>
                <a:gd name="connsiteY77" fmla="*/ 101822 h 144303"/>
                <a:gd name="connsiteX78" fmla="*/ 10001 w 142684"/>
                <a:gd name="connsiteY78" fmla="*/ 110490 h 144303"/>
                <a:gd name="connsiteX79" fmla="*/ 16002 w 142684"/>
                <a:gd name="connsiteY79" fmla="*/ 118110 h 144303"/>
                <a:gd name="connsiteX80" fmla="*/ 17717 w 142684"/>
                <a:gd name="connsiteY80" fmla="*/ 119634 h 144303"/>
                <a:gd name="connsiteX81" fmla="*/ 19812 w 142684"/>
                <a:gd name="connsiteY81" fmla="*/ 118682 h 144303"/>
                <a:gd name="connsiteX82" fmla="*/ 33814 w 142684"/>
                <a:gd name="connsiteY82" fmla="*/ 112014 h 144303"/>
                <a:gd name="connsiteX83" fmla="*/ 45815 w 142684"/>
                <a:gd name="connsiteY83" fmla="*/ 120872 h 144303"/>
                <a:gd name="connsiteX84" fmla="*/ 44006 w 142684"/>
                <a:gd name="connsiteY84" fmla="*/ 136398 h 144303"/>
                <a:gd name="connsiteX85" fmla="*/ 43910 w 142684"/>
                <a:gd name="connsiteY85" fmla="*/ 139065 h 144303"/>
                <a:gd name="connsiteX86" fmla="*/ 45815 w 142684"/>
                <a:gd name="connsiteY86" fmla="*/ 140018 h 144303"/>
                <a:gd name="connsiteX87" fmla="*/ 54769 w 142684"/>
                <a:gd name="connsiteY87" fmla="*/ 143256 h 144303"/>
                <a:gd name="connsiteX88" fmla="*/ 64199 w 142684"/>
                <a:gd name="connsiteY88" fmla="*/ 144304 h 144303"/>
                <a:gd name="connsiteX89" fmla="*/ 64389 w 142684"/>
                <a:gd name="connsiteY89" fmla="*/ 144304 h 144303"/>
                <a:gd name="connsiteX90" fmla="*/ 66485 w 142684"/>
                <a:gd name="connsiteY90" fmla="*/ 143732 h 144303"/>
                <a:gd name="connsiteX91" fmla="*/ 67437 w 142684"/>
                <a:gd name="connsiteY91" fmla="*/ 142018 h 144303"/>
                <a:gd name="connsiteX92" fmla="*/ 72676 w 142684"/>
                <a:gd name="connsiteY92" fmla="*/ 127254 h 144303"/>
                <a:gd name="connsiteX93" fmla="*/ 87344 w 142684"/>
                <a:gd name="connsiteY93" fmla="*/ 124873 h 144303"/>
                <a:gd name="connsiteX94" fmla="*/ 96774 w 142684"/>
                <a:gd name="connsiteY94" fmla="*/ 136970 h 144303"/>
                <a:gd name="connsiteX95" fmla="*/ 97822 w 142684"/>
                <a:gd name="connsiteY95" fmla="*/ 139541 h 144303"/>
                <a:gd name="connsiteX96" fmla="*/ 100870 w 142684"/>
                <a:gd name="connsiteY96" fmla="*/ 138494 h 144303"/>
                <a:gd name="connsiteX97" fmla="*/ 109442 w 142684"/>
                <a:gd name="connsiteY97" fmla="*/ 134398 h 144303"/>
                <a:gd name="connsiteX98" fmla="*/ 116872 w 142684"/>
                <a:gd name="connsiteY98" fmla="*/ 128397 h 144303"/>
                <a:gd name="connsiteX99" fmla="*/ 118015 w 142684"/>
                <a:gd name="connsiteY99" fmla="*/ 126397 h 144303"/>
                <a:gd name="connsiteX100" fmla="*/ 117443 w 142684"/>
                <a:gd name="connsiteY100" fmla="*/ 124492 h 144303"/>
                <a:gd name="connsiteX101" fmla="*/ 110681 w 142684"/>
                <a:gd name="connsiteY101" fmla="*/ 110204 h 144303"/>
                <a:gd name="connsiteX102" fmla="*/ 119158 w 142684"/>
                <a:gd name="connsiteY102" fmla="*/ 98203 h 144303"/>
                <a:gd name="connsiteX103" fmla="*/ 134684 w 142684"/>
                <a:gd name="connsiteY103" fmla="*/ 100108 h 144303"/>
                <a:gd name="connsiteX104" fmla="*/ 135446 w 142684"/>
                <a:gd name="connsiteY104" fmla="*/ 100203 h 144303"/>
                <a:gd name="connsiteX105" fmla="*/ 137732 w 142684"/>
                <a:gd name="connsiteY105" fmla="*/ 99632 h 144303"/>
                <a:gd name="connsiteX106" fmla="*/ 138398 w 142684"/>
                <a:gd name="connsiteY106" fmla="*/ 98203 h 144303"/>
                <a:gd name="connsiteX107" fmla="*/ 141637 w 142684"/>
                <a:gd name="connsiteY107" fmla="*/ 89154 h 144303"/>
                <a:gd name="connsiteX108" fmla="*/ 142684 w 142684"/>
                <a:gd name="connsiteY108" fmla="*/ 79534 h 144303"/>
                <a:gd name="connsiteX109" fmla="*/ 142494 w 142684"/>
                <a:gd name="connsiteY109" fmla="*/ 77153 h 144303"/>
                <a:gd name="connsiteX110" fmla="*/ 140303 w 142684"/>
                <a:gd name="connsiteY110" fmla="*/ 76295 h 144303"/>
                <a:gd name="connsiteX111" fmla="*/ 125254 w 142684"/>
                <a:gd name="connsiteY111" fmla="*/ 70866 h 144303"/>
                <a:gd name="connsiteX112" fmla="*/ 122968 w 142684"/>
                <a:gd name="connsiteY112" fmla="*/ 56578 h 144303"/>
                <a:gd name="connsiteX113" fmla="*/ 135160 w 142684"/>
                <a:gd name="connsiteY113" fmla="*/ 46863 h 144303"/>
                <a:gd name="connsiteX114" fmla="*/ 135636 w 142684"/>
                <a:gd name="connsiteY114" fmla="*/ 46577 h 144303"/>
                <a:gd name="connsiteX115" fmla="*/ 137350 w 142684"/>
                <a:gd name="connsiteY115" fmla="*/ 44291 h 144303"/>
                <a:gd name="connsiteX116" fmla="*/ 136874 w 142684"/>
                <a:gd name="connsiteY116" fmla="*/ 42767 h 144303"/>
                <a:gd name="connsiteX117" fmla="*/ 132874 w 142684"/>
                <a:gd name="connsiteY117" fmla="*/ 34004 h 144303"/>
                <a:gd name="connsiteX118" fmla="*/ 126873 w 142684"/>
                <a:gd name="connsiteY118" fmla="*/ 26384 h 144303"/>
                <a:gd name="connsiteX119" fmla="*/ 125158 w 142684"/>
                <a:gd name="connsiteY119" fmla="*/ 24860 h 144303"/>
                <a:gd name="connsiteX120" fmla="*/ 123063 w 142684"/>
                <a:gd name="connsiteY120" fmla="*/ 25813 h 144303"/>
                <a:gd name="connsiteX121" fmla="*/ 108395 w 142684"/>
                <a:gd name="connsiteY121" fmla="*/ 32861 h 144303"/>
                <a:gd name="connsiteX122" fmla="*/ 96965 w 142684"/>
                <a:gd name="connsiteY122" fmla="*/ 24479 h 144303"/>
                <a:gd name="connsiteX123" fmla="*/ 98870 w 142684"/>
                <a:gd name="connsiteY123" fmla="*/ 8287 h 144303"/>
                <a:gd name="connsiteX124" fmla="*/ 99060 w 142684"/>
                <a:gd name="connsiteY124" fmla="*/ 7049 h 144303"/>
                <a:gd name="connsiteX125" fmla="*/ 98012 w 142684"/>
                <a:gd name="connsiteY125" fmla="*/ 5048 h 144303"/>
                <a:gd name="connsiteX126" fmla="*/ 96965 w 142684"/>
                <a:gd name="connsiteY126" fmla="*/ 4477 h 144303"/>
                <a:gd name="connsiteX127" fmla="*/ 88011 w 142684"/>
                <a:gd name="connsiteY127" fmla="*/ 1238 h 144303"/>
                <a:gd name="connsiteX128" fmla="*/ 78677 w 142684"/>
                <a:gd name="connsiteY128" fmla="*/ 191 h 144303"/>
                <a:gd name="connsiteX129" fmla="*/ 78581 w 142684"/>
                <a:gd name="connsiteY129" fmla="*/ 191 h 144303"/>
                <a:gd name="connsiteX130" fmla="*/ 75914 w 142684"/>
                <a:gd name="connsiteY130" fmla="*/ 0 h 144303"/>
                <a:gd name="connsiteX131" fmla="*/ 75248 w 142684"/>
                <a:gd name="connsiteY131" fmla="*/ 2477 h 144303"/>
                <a:gd name="connsiteX132" fmla="*/ 69818 w 142684"/>
                <a:gd name="connsiteY132" fmla="*/ 18002 h 144303"/>
                <a:gd name="connsiteX133" fmla="*/ 55912 w 142684"/>
                <a:gd name="connsiteY133" fmla="*/ 20193 h 144303"/>
                <a:gd name="connsiteX134" fmla="*/ 46006 w 142684"/>
                <a:gd name="connsiteY134" fmla="*/ 7525 h 144303"/>
                <a:gd name="connsiteX135" fmla="*/ 44863 w 142684"/>
                <a:gd name="connsiteY135" fmla="*/ 6477 h 144303"/>
                <a:gd name="connsiteX136" fmla="*/ 42101 w 142684"/>
                <a:gd name="connsiteY136" fmla="*/ 6001 h 144303"/>
                <a:gd name="connsiteX137" fmla="*/ 33433 w 142684"/>
                <a:gd name="connsiteY137" fmla="*/ 10097 h 144303"/>
                <a:gd name="connsiteX138" fmla="*/ 25908 w 142684"/>
                <a:gd name="connsiteY138" fmla="*/ 16193 h 144303"/>
                <a:gd name="connsiteX139" fmla="*/ 24384 w 142684"/>
                <a:gd name="connsiteY139" fmla="*/ 18002 h 144303"/>
                <a:gd name="connsiteX140" fmla="*/ 25337 w 142684"/>
                <a:gd name="connsiteY140" fmla="*/ 20098 h 144303"/>
                <a:gd name="connsiteX141" fmla="*/ 32195 w 142684"/>
                <a:gd name="connsiteY141" fmla="*/ 34766 h 144303"/>
                <a:gd name="connsiteX142" fmla="*/ 23717 w 142684"/>
                <a:gd name="connsiteY142" fmla="*/ 46482 h 144303"/>
                <a:gd name="connsiteX143" fmla="*/ 8096 w 142684"/>
                <a:gd name="connsiteY143" fmla="*/ 44672 h 144303"/>
                <a:gd name="connsiteX144" fmla="*/ 6858 w 142684"/>
                <a:gd name="connsiteY144" fmla="*/ 44387 h 144303"/>
                <a:gd name="connsiteX145" fmla="*/ 4763 w 142684"/>
                <a:gd name="connsiteY145" fmla="*/ 45434 h 144303"/>
                <a:gd name="connsiteX146" fmla="*/ 4286 w 142684"/>
                <a:gd name="connsiteY146" fmla="*/ 46482 h 144303"/>
                <a:gd name="connsiteX147" fmla="*/ 1048 w 142684"/>
                <a:gd name="connsiteY147" fmla="*/ 55531 h 144303"/>
                <a:gd name="connsiteX148" fmla="*/ 0 w 142684"/>
                <a:gd name="connsiteY148" fmla="*/ 65151 h 144303"/>
                <a:gd name="connsiteX149" fmla="*/ 95 w 142684"/>
                <a:gd name="connsiteY149" fmla="*/ 67532 h 144303"/>
                <a:gd name="connsiteX150" fmla="*/ 2381 w 142684"/>
                <a:gd name="connsiteY150" fmla="*/ 68294 h 14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142684" h="144303">
                  <a:moveTo>
                    <a:pt x="27718" y="53912"/>
                  </a:moveTo>
                  <a:lnTo>
                    <a:pt x="28766" y="51721"/>
                  </a:lnTo>
                  <a:cubicBezTo>
                    <a:pt x="31242" y="46577"/>
                    <a:pt x="34671" y="41910"/>
                    <a:pt x="38767" y="38005"/>
                  </a:cubicBezTo>
                  <a:lnTo>
                    <a:pt x="40577" y="36195"/>
                  </a:lnTo>
                  <a:lnTo>
                    <a:pt x="39433" y="34004"/>
                  </a:lnTo>
                  <a:cubicBezTo>
                    <a:pt x="37052" y="29147"/>
                    <a:pt x="34766" y="24384"/>
                    <a:pt x="32576" y="19431"/>
                  </a:cubicBezTo>
                  <a:cubicBezTo>
                    <a:pt x="34004" y="18098"/>
                    <a:pt x="35528" y="16955"/>
                    <a:pt x="37148" y="16002"/>
                  </a:cubicBezTo>
                  <a:cubicBezTo>
                    <a:pt x="38767" y="14954"/>
                    <a:pt x="40481" y="14097"/>
                    <a:pt x="42196" y="13430"/>
                  </a:cubicBezTo>
                  <a:cubicBezTo>
                    <a:pt x="45530" y="17431"/>
                    <a:pt x="48863" y="21812"/>
                    <a:pt x="52197" y="26289"/>
                  </a:cubicBezTo>
                  <a:lnTo>
                    <a:pt x="53626" y="28289"/>
                  </a:lnTo>
                  <a:lnTo>
                    <a:pt x="55912" y="27527"/>
                  </a:lnTo>
                  <a:cubicBezTo>
                    <a:pt x="61151" y="25622"/>
                    <a:pt x="66770" y="24765"/>
                    <a:pt x="72390" y="24955"/>
                  </a:cubicBezTo>
                  <a:lnTo>
                    <a:pt x="74867" y="25051"/>
                  </a:lnTo>
                  <a:lnTo>
                    <a:pt x="75629" y="22765"/>
                  </a:lnTo>
                  <a:cubicBezTo>
                    <a:pt x="77343" y="17526"/>
                    <a:pt x="79153" y="12383"/>
                    <a:pt x="80963" y="7334"/>
                  </a:cubicBezTo>
                  <a:cubicBezTo>
                    <a:pt x="82963" y="7430"/>
                    <a:pt x="84773" y="7715"/>
                    <a:pt x="86582" y="8192"/>
                  </a:cubicBezTo>
                  <a:cubicBezTo>
                    <a:pt x="88392" y="8573"/>
                    <a:pt x="90202" y="9144"/>
                    <a:pt x="92012" y="10001"/>
                  </a:cubicBezTo>
                  <a:cubicBezTo>
                    <a:pt x="91440" y="15526"/>
                    <a:pt x="90773" y="20955"/>
                    <a:pt x="90011" y="26289"/>
                  </a:cubicBezTo>
                  <a:lnTo>
                    <a:pt x="89726" y="28765"/>
                  </a:lnTo>
                  <a:lnTo>
                    <a:pt x="91916" y="29813"/>
                  </a:lnTo>
                  <a:cubicBezTo>
                    <a:pt x="96965" y="32290"/>
                    <a:pt x="101537" y="35528"/>
                    <a:pt x="105442" y="39624"/>
                  </a:cubicBezTo>
                  <a:lnTo>
                    <a:pt x="107156" y="41434"/>
                  </a:lnTo>
                  <a:lnTo>
                    <a:pt x="109347" y="40291"/>
                  </a:lnTo>
                  <a:cubicBezTo>
                    <a:pt x="114205" y="37910"/>
                    <a:pt x="118872" y="35528"/>
                    <a:pt x="123825" y="33242"/>
                  </a:cubicBezTo>
                  <a:cubicBezTo>
                    <a:pt x="125063" y="34671"/>
                    <a:pt x="126206" y="36195"/>
                    <a:pt x="127254" y="37814"/>
                  </a:cubicBezTo>
                  <a:cubicBezTo>
                    <a:pt x="128302" y="39434"/>
                    <a:pt x="129064" y="41053"/>
                    <a:pt x="129826" y="42863"/>
                  </a:cubicBezTo>
                  <a:cubicBezTo>
                    <a:pt x="125730" y="46196"/>
                    <a:pt x="121539" y="49530"/>
                    <a:pt x="117158" y="52864"/>
                  </a:cubicBezTo>
                  <a:lnTo>
                    <a:pt x="115253" y="54388"/>
                  </a:lnTo>
                  <a:lnTo>
                    <a:pt x="116110" y="56769"/>
                  </a:lnTo>
                  <a:cubicBezTo>
                    <a:pt x="118015" y="62198"/>
                    <a:pt x="118967" y="67818"/>
                    <a:pt x="118872" y="73533"/>
                  </a:cubicBezTo>
                  <a:lnTo>
                    <a:pt x="118777" y="76010"/>
                  </a:lnTo>
                  <a:lnTo>
                    <a:pt x="121158" y="76867"/>
                  </a:lnTo>
                  <a:cubicBezTo>
                    <a:pt x="126397" y="78677"/>
                    <a:pt x="131255" y="80391"/>
                    <a:pt x="136112" y="82106"/>
                  </a:cubicBezTo>
                  <a:cubicBezTo>
                    <a:pt x="135922" y="84106"/>
                    <a:pt x="135731" y="85915"/>
                    <a:pt x="135255" y="87821"/>
                  </a:cubicBezTo>
                  <a:cubicBezTo>
                    <a:pt x="134779" y="89726"/>
                    <a:pt x="134207" y="91440"/>
                    <a:pt x="133541" y="93250"/>
                  </a:cubicBezTo>
                  <a:cubicBezTo>
                    <a:pt x="128302" y="92678"/>
                    <a:pt x="123063" y="92012"/>
                    <a:pt x="117824" y="91250"/>
                  </a:cubicBezTo>
                  <a:lnTo>
                    <a:pt x="115443" y="90964"/>
                  </a:lnTo>
                  <a:lnTo>
                    <a:pt x="114395" y="93155"/>
                  </a:lnTo>
                  <a:cubicBezTo>
                    <a:pt x="111919" y="98489"/>
                    <a:pt x="108585" y="103156"/>
                    <a:pt x="104489" y="107252"/>
                  </a:cubicBezTo>
                  <a:lnTo>
                    <a:pt x="102680" y="108966"/>
                  </a:lnTo>
                  <a:lnTo>
                    <a:pt x="103823" y="111157"/>
                  </a:lnTo>
                  <a:cubicBezTo>
                    <a:pt x="106108" y="115919"/>
                    <a:pt x="108490" y="120777"/>
                    <a:pt x="110585" y="125254"/>
                  </a:cubicBezTo>
                  <a:cubicBezTo>
                    <a:pt x="109157" y="126587"/>
                    <a:pt x="107633" y="127730"/>
                    <a:pt x="106013" y="128683"/>
                  </a:cubicBezTo>
                  <a:cubicBezTo>
                    <a:pt x="104394" y="129731"/>
                    <a:pt x="102680" y="130588"/>
                    <a:pt x="100965" y="131255"/>
                  </a:cubicBezTo>
                  <a:cubicBezTo>
                    <a:pt x="97822" y="127349"/>
                    <a:pt x="94583" y="123158"/>
                    <a:pt x="91440" y="118872"/>
                  </a:cubicBezTo>
                  <a:lnTo>
                    <a:pt x="89916" y="116872"/>
                  </a:lnTo>
                  <a:lnTo>
                    <a:pt x="87535" y="117729"/>
                  </a:lnTo>
                  <a:cubicBezTo>
                    <a:pt x="82201" y="119729"/>
                    <a:pt x="76295" y="120682"/>
                    <a:pt x="70485" y="120587"/>
                  </a:cubicBezTo>
                  <a:lnTo>
                    <a:pt x="68008" y="120491"/>
                  </a:lnTo>
                  <a:lnTo>
                    <a:pt x="67247" y="122873"/>
                  </a:lnTo>
                  <a:cubicBezTo>
                    <a:pt x="65532" y="127921"/>
                    <a:pt x="63818" y="132874"/>
                    <a:pt x="62198" y="137541"/>
                  </a:cubicBezTo>
                  <a:cubicBezTo>
                    <a:pt x="60198" y="137351"/>
                    <a:pt x="58388" y="137160"/>
                    <a:pt x="56579" y="136684"/>
                  </a:cubicBezTo>
                  <a:cubicBezTo>
                    <a:pt x="54769" y="136303"/>
                    <a:pt x="53054" y="135636"/>
                    <a:pt x="51245" y="134874"/>
                  </a:cubicBezTo>
                  <a:cubicBezTo>
                    <a:pt x="51816" y="129731"/>
                    <a:pt x="52388" y="124397"/>
                    <a:pt x="53054" y="119348"/>
                  </a:cubicBezTo>
                  <a:lnTo>
                    <a:pt x="53435" y="116872"/>
                  </a:lnTo>
                  <a:lnTo>
                    <a:pt x="51245" y="115824"/>
                  </a:lnTo>
                  <a:cubicBezTo>
                    <a:pt x="45911" y="113252"/>
                    <a:pt x="41243" y="109823"/>
                    <a:pt x="37243" y="105537"/>
                  </a:cubicBezTo>
                  <a:lnTo>
                    <a:pt x="35528" y="103727"/>
                  </a:lnTo>
                  <a:lnTo>
                    <a:pt x="33338" y="104870"/>
                  </a:lnTo>
                  <a:cubicBezTo>
                    <a:pt x="28480" y="107347"/>
                    <a:pt x="23908" y="109538"/>
                    <a:pt x="19431" y="111633"/>
                  </a:cubicBezTo>
                  <a:cubicBezTo>
                    <a:pt x="18193" y="110204"/>
                    <a:pt x="17050" y="108585"/>
                    <a:pt x="16002" y="106966"/>
                  </a:cubicBezTo>
                  <a:cubicBezTo>
                    <a:pt x="15050" y="105442"/>
                    <a:pt x="14192" y="103727"/>
                    <a:pt x="13430" y="101918"/>
                  </a:cubicBezTo>
                  <a:cubicBezTo>
                    <a:pt x="17336" y="98679"/>
                    <a:pt x="21527" y="95440"/>
                    <a:pt x="25718" y="92202"/>
                  </a:cubicBezTo>
                  <a:lnTo>
                    <a:pt x="27718" y="90678"/>
                  </a:lnTo>
                  <a:lnTo>
                    <a:pt x="26861" y="88392"/>
                  </a:lnTo>
                  <a:cubicBezTo>
                    <a:pt x="25051" y="82868"/>
                    <a:pt x="24098" y="77153"/>
                    <a:pt x="24384" y="71342"/>
                  </a:cubicBezTo>
                  <a:lnTo>
                    <a:pt x="24384" y="68771"/>
                  </a:lnTo>
                  <a:lnTo>
                    <a:pt x="22003" y="68009"/>
                  </a:lnTo>
                  <a:cubicBezTo>
                    <a:pt x="16955" y="66294"/>
                    <a:pt x="12097" y="64579"/>
                    <a:pt x="7239" y="62770"/>
                  </a:cubicBezTo>
                  <a:cubicBezTo>
                    <a:pt x="7334" y="60770"/>
                    <a:pt x="7620" y="58960"/>
                    <a:pt x="8001" y="57150"/>
                  </a:cubicBezTo>
                  <a:cubicBezTo>
                    <a:pt x="8477" y="55245"/>
                    <a:pt x="9049" y="53531"/>
                    <a:pt x="9811" y="51721"/>
                  </a:cubicBezTo>
                  <a:cubicBezTo>
                    <a:pt x="14859" y="52197"/>
                    <a:pt x="20288" y="52864"/>
                    <a:pt x="25622" y="53721"/>
                  </a:cubicBezTo>
                  <a:lnTo>
                    <a:pt x="27718" y="53912"/>
                  </a:lnTo>
                  <a:close/>
                  <a:moveTo>
                    <a:pt x="2381" y="68294"/>
                  </a:moveTo>
                  <a:cubicBezTo>
                    <a:pt x="7049" y="70104"/>
                    <a:pt x="11906" y="71819"/>
                    <a:pt x="17240" y="73628"/>
                  </a:cubicBezTo>
                  <a:cubicBezTo>
                    <a:pt x="17240" y="78581"/>
                    <a:pt x="18002" y="83534"/>
                    <a:pt x="19431" y="88202"/>
                  </a:cubicBezTo>
                  <a:cubicBezTo>
                    <a:pt x="15431" y="91345"/>
                    <a:pt x="5144" y="99536"/>
                    <a:pt x="5144" y="99536"/>
                  </a:cubicBezTo>
                  <a:lnTo>
                    <a:pt x="5906" y="101822"/>
                  </a:lnTo>
                  <a:cubicBezTo>
                    <a:pt x="6953" y="104965"/>
                    <a:pt x="8287" y="107823"/>
                    <a:pt x="10001" y="110490"/>
                  </a:cubicBezTo>
                  <a:cubicBezTo>
                    <a:pt x="11621" y="113157"/>
                    <a:pt x="13621" y="115634"/>
                    <a:pt x="16002" y="118110"/>
                  </a:cubicBezTo>
                  <a:lnTo>
                    <a:pt x="17717" y="119634"/>
                  </a:lnTo>
                  <a:lnTo>
                    <a:pt x="19812" y="118682"/>
                  </a:lnTo>
                  <a:cubicBezTo>
                    <a:pt x="24289" y="116586"/>
                    <a:pt x="28956" y="114300"/>
                    <a:pt x="33814" y="112014"/>
                  </a:cubicBezTo>
                  <a:cubicBezTo>
                    <a:pt x="37433" y="115538"/>
                    <a:pt x="41434" y="118491"/>
                    <a:pt x="45815" y="120872"/>
                  </a:cubicBezTo>
                  <a:cubicBezTo>
                    <a:pt x="45053" y="126111"/>
                    <a:pt x="44577" y="131350"/>
                    <a:pt x="44006" y="136398"/>
                  </a:cubicBezTo>
                  <a:lnTo>
                    <a:pt x="43910" y="139065"/>
                  </a:lnTo>
                  <a:lnTo>
                    <a:pt x="45815" y="140018"/>
                  </a:lnTo>
                  <a:cubicBezTo>
                    <a:pt x="48768" y="141542"/>
                    <a:pt x="51721" y="142589"/>
                    <a:pt x="54769" y="143256"/>
                  </a:cubicBezTo>
                  <a:cubicBezTo>
                    <a:pt x="57817" y="144018"/>
                    <a:pt x="60865" y="144304"/>
                    <a:pt x="64199" y="144304"/>
                  </a:cubicBezTo>
                  <a:lnTo>
                    <a:pt x="64389" y="144304"/>
                  </a:lnTo>
                  <a:lnTo>
                    <a:pt x="66485" y="143732"/>
                  </a:lnTo>
                  <a:lnTo>
                    <a:pt x="67437" y="142018"/>
                  </a:lnTo>
                  <a:cubicBezTo>
                    <a:pt x="69152" y="137351"/>
                    <a:pt x="70866" y="132398"/>
                    <a:pt x="72676" y="127254"/>
                  </a:cubicBezTo>
                  <a:cubicBezTo>
                    <a:pt x="77629" y="127159"/>
                    <a:pt x="82582" y="126397"/>
                    <a:pt x="87344" y="124873"/>
                  </a:cubicBezTo>
                  <a:cubicBezTo>
                    <a:pt x="90392" y="128969"/>
                    <a:pt x="93536" y="132969"/>
                    <a:pt x="96774" y="136970"/>
                  </a:cubicBezTo>
                  <a:lnTo>
                    <a:pt x="97822" y="139541"/>
                  </a:lnTo>
                  <a:lnTo>
                    <a:pt x="100870" y="138494"/>
                  </a:lnTo>
                  <a:cubicBezTo>
                    <a:pt x="104013" y="137446"/>
                    <a:pt x="106871" y="136017"/>
                    <a:pt x="109442" y="134398"/>
                  </a:cubicBezTo>
                  <a:cubicBezTo>
                    <a:pt x="112205" y="132779"/>
                    <a:pt x="114586" y="130778"/>
                    <a:pt x="116872" y="128397"/>
                  </a:cubicBezTo>
                  <a:lnTo>
                    <a:pt x="118015" y="126397"/>
                  </a:lnTo>
                  <a:lnTo>
                    <a:pt x="117443" y="124492"/>
                  </a:lnTo>
                  <a:cubicBezTo>
                    <a:pt x="115348" y="119729"/>
                    <a:pt x="113062" y="114967"/>
                    <a:pt x="110681" y="110204"/>
                  </a:cubicBezTo>
                  <a:cubicBezTo>
                    <a:pt x="114109" y="106585"/>
                    <a:pt x="116967" y="102584"/>
                    <a:pt x="119158" y="98203"/>
                  </a:cubicBezTo>
                  <a:cubicBezTo>
                    <a:pt x="124587" y="98965"/>
                    <a:pt x="129826" y="99536"/>
                    <a:pt x="134684" y="100108"/>
                  </a:cubicBezTo>
                  <a:lnTo>
                    <a:pt x="135446" y="100203"/>
                  </a:lnTo>
                  <a:lnTo>
                    <a:pt x="137732" y="99632"/>
                  </a:lnTo>
                  <a:lnTo>
                    <a:pt x="138398" y="98203"/>
                  </a:lnTo>
                  <a:cubicBezTo>
                    <a:pt x="139827" y="95250"/>
                    <a:pt x="140875" y="92297"/>
                    <a:pt x="141637" y="89154"/>
                  </a:cubicBezTo>
                  <a:cubicBezTo>
                    <a:pt x="142399" y="86011"/>
                    <a:pt x="142684" y="82963"/>
                    <a:pt x="142684" y="79534"/>
                  </a:cubicBezTo>
                  <a:lnTo>
                    <a:pt x="142494" y="77153"/>
                  </a:lnTo>
                  <a:lnTo>
                    <a:pt x="140303" y="76295"/>
                  </a:lnTo>
                  <a:cubicBezTo>
                    <a:pt x="135446" y="74486"/>
                    <a:pt x="130397" y="72676"/>
                    <a:pt x="125254" y="70866"/>
                  </a:cubicBezTo>
                  <a:cubicBezTo>
                    <a:pt x="125158" y="66008"/>
                    <a:pt x="124397" y="61246"/>
                    <a:pt x="122968" y="56578"/>
                  </a:cubicBezTo>
                  <a:cubicBezTo>
                    <a:pt x="127540" y="52959"/>
                    <a:pt x="131731" y="49721"/>
                    <a:pt x="135160" y="46863"/>
                  </a:cubicBezTo>
                  <a:lnTo>
                    <a:pt x="135636" y="46577"/>
                  </a:lnTo>
                  <a:lnTo>
                    <a:pt x="137350" y="44291"/>
                  </a:lnTo>
                  <a:lnTo>
                    <a:pt x="136874" y="42767"/>
                  </a:lnTo>
                  <a:cubicBezTo>
                    <a:pt x="135826" y="39624"/>
                    <a:pt x="134493" y="36766"/>
                    <a:pt x="132874" y="34004"/>
                  </a:cubicBezTo>
                  <a:cubicBezTo>
                    <a:pt x="131159" y="31337"/>
                    <a:pt x="129254" y="28861"/>
                    <a:pt x="126873" y="26384"/>
                  </a:cubicBezTo>
                  <a:lnTo>
                    <a:pt x="125158" y="24860"/>
                  </a:lnTo>
                  <a:lnTo>
                    <a:pt x="123063" y="25813"/>
                  </a:lnTo>
                  <a:cubicBezTo>
                    <a:pt x="118396" y="28003"/>
                    <a:pt x="113443" y="30290"/>
                    <a:pt x="108395" y="32861"/>
                  </a:cubicBezTo>
                  <a:cubicBezTo>
                    <a:pt x="104966" y="29528"/>
                    <a:pt x="101156" y="26765"/>
                    <a:pt x="96965" y="24479"/>
                  </a:cubicBezTo>
                  <a:cubicBezTo>
                    <a:pt x="97631" y="19050"/>
                    <a:pt x="98298" y="13621"/>
                    <a:pt x="98870" y="8287"/>
                  </a:cubicBezTo>
                  <a:lnTo>
                    <a:pt x="99060" y="7049"/>
                  </a:lnTo>
                  <a:lnTo>
                    <a:pt x="98012" y="5048"/>
                  </a:lnTo>
                  <a:lnTo>
                    <a:pt x="96965" y="4477"/>
                  </a:lnTo>
                  <a:cubicBezTo>
                    <a:pt x="94107" y="3048"/>
                    <a:pt x="91154" y="1905"/>
                    <a:pt x="88011" y="1238"/>
                  </a:cubicBezTo>
                  <a:cubicBezTo>
                    <a:pt x="84963" y="572"/>
                    <a:pt x="81915" y="191"/>
                    <a:pt x="78677" y="191"/>
                  </a:cubicBezTo>
                  <a:lnTo>
                    <a:pt x="78581" y="191"/>
                  </a:lnTo>
                  <a:lnTo>
                    <a:pt x="75914" y="0"/>
                  </a:lnTo>
                  <a:lnTo>
                    <a:pt x="75248" y="2477"/>
                  </a:lnTo>
                  <a:cubicBezTo>
                    <a:pt x="73343" y="7715"/>
                    <a:pt x="71533" y="12859"/>
                    <a:pt x="69818" y="18002"/>
                  </a:cubicBezTo>
                  <a:cubicBezTo>
                    <a:pt x="65056" y="18098"/>
                    <a:pt x="60389" y="18860"/>
                    <a:pt x="55912" y="20193"/>
                  </a:cubicBezTo>
                  <a:cubicBezTo>
                    <a:pt x="52483" y="15716"/>
                    <a:pt x="49244" y="11525"/>
                    <a:pt x="46006" y="7525"/>
                  </a:cubicBezTo>
                  <a:lnTo>
                    <a:pt x="44863" y="6477"/>
                  </a:lnTo>
                  <a:lnTo>
                    <a:pt x="42101" y="6001"/>
                  </a:lnTo>
                  <a:cubicBezTo>
                    <a:pt x="38957" y="7049"/>
                    <a:pt x="36195" y="8477"/>
                    <a:pt x="33433" y="10097"/>
                  </a:cubicBezTo>
                  <a:cubicBezTo>
                    <a:pt x="30766" y="11716"/>
                    <a:pt x="28385" y="13716"/>
                    <a:pt x="25908" y="16193"/>
                  </a:cubicBezTo>
                  <a:lnTo>
                    <a:pt x="24384" y="18002"/>
                  </a:lnTo>
                  <a:lnTo>
                    <a:pt x="25337" y="20098"/>
                  </a:lnTo>
                  <a:cubicBezTo>
                    <a:pt x="27432" y="24765"/>
                    <a:pt x="29718" y="29718"/>
                    <a:pt x="32195" y="34766"/>
                  </a:cubicBezTo>
                  <a:cubicBezTo>
                    <a:pt x="28861" y="38290"/>
                    <a:pt x="26099" y="42196"/>
                    <a:pt x="23717" y="46482"/>
                  </a:cubicBezTo>
                  <a:cubicBezTo>
                    <a:pt x="18098" y="45720"/>
                    <a:pt x="12764" y="45053"/>
                    <a:pt x="8096" y="44672"/>
                  </a:cubicBezTo>
                  <a:lnTo>
                    <a:pt x="6858" y="44387"/>
                  </a:lnTo>
                  <a:lnTo>
                    <a:pt x="4763" y="45434"/>
                  </a:lnTo>
                  <a:lnTo>
                    <a:pt x="4286" y="46482"/>
                  </a:lnTo>
                  <a:cubicBezTo>
                    <a:pt x="2858" y="49435"/>
                    <a:pt x="1810" y="52388"/>
                    <a:pt x="1048" y="55531"/>
                  </a:cubicBezTo>
                  <a:cubicBezTo>
                    <a:pt x="286" y="58579"/>
                    <a:pt x="0" y="61722"/>
                    <a:pt x="0" y="65151"/>
                  </a:cubicBezTo>
                  <a:lnTo>
                    <a:pt x="95" y="67532"/>
                  </a:lnTo>
                  <a:lnTo>
                    <a:pt x="2381" y="68294"/>
                  </a:lnTo>
                  <a:close/>
                </a:path>
              </a:pathLst>
            </a:custGeom>
            <a:grpFill/>
            <a:ln w="9525" cap="flat">
              <a:no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AU" sz="1092" b="0" i="0" u="none" strike="noStrike" kern="1200" cap="none" spc="0" normalizeH="0" baseline="0" noProof="0" dirty="0">
                <a:ln>
                  <a:noFill/>
                </a:ln>
                <a:solidFill>
                  <a:prstClr val="black"/>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653BEBD1-5E6D-4E71-A53B-3BA30714C746}"/>
                </a:ext>
              </a:extLst>
            </p:cNvPr>
            <p:cNvSpPr/>
            <p:nvPr/>
          </p:nvSpPr>
          <p:spPr>
            <a:xfrm>
              <a:off x="6587923" y="7835386"/>
              <a:ext cx="72488" cy="73400"/>
            </a:xfrm>
            <a:custGeom>
              <a:avLst/>
              <a:gdLst>
                <a:gd name="connsiteX0" fmla="*/ 7431 w 72488"/>
                <a:gd name="connsiteY0" fmla="*/ 30062 h 73400"/>
                <a:gd name="connsiteX1" fmla="*/ 20576 w 72488"/>
                <a:gd name="connsiteY1" fmla="*/ 11488 h 73400"/>
                <a:gd name="connsiteX2" fmla="*/ 36101 w 72488"/>
                <a:gd name="connsiteY2" fmla="*/ 7012 h 73400"/>
                <a:gd name="connsiteX3" fmla="*/ 61247 w 72488"/>
                <a:gd name="connsiteY3" fmla="*/ 21109 h 73400"/>
                <a:gd name="connsiteX4" fmla="*/ 64867 w 72488"/>
                <a:gd name="connsiteY4" fmla="*/ 43588 h 73400"/>
                <a:gd name="connsiteX5" fmla="*/ 51722 w 72488"/>
                <a:gd name="connsiteY5" fmla="*/ 62161 h 73400"/>
                <a:gd name="connsiteX6" fmla="*/ 10955 w 72488"/>
                <a:gd name="connsiteY6" fmla="*/ 52541 h 73400"/>
                <a:gd name="connsiteX7" fmla="*/ 7431 w 72488"/>
                <a:gd name="connsiteY7" fmla="*/ 30062 h 73400"/>
                <a:gd name="connsiteX8" fmla="*/ 36197 w 72488"/>
                <a:gd name="connsiteY8" fmla="*/ 73401 h 73400"/>
                <a:gd name="connsiteX9" fmla="*/ 55342 w 72488"/>
                <a:gd name="connsiteY9" fmla="*/ 67876 h 73400"/>
                <a:gd name="connsiteX10" fmla="*/ 71534 w 72488"/>
                <a:gd name="connsiteY10" fmla="*/ 45112 h 73400"/>
                <a:gd name="connsiteX11" fmla="*/ 67057 w 72488"/>
                <a:gd name="connsiteY11" fmla="*/ 17394 h 73400"/>
                <a:gd name="connsiteX12" fmla="*/ 44483 w 72488"/>
                <a:gd name="connsiteY12" fmla="*/ 1011 h 73400"/>
                <a:gd name="connsiteX13" fmla="*/ 17051 w 72488"/>
                <a:gd name="connsiteY13" fmla="*/ 5583 h 73400"/>
                <a:gd name="connsiteX14" fmla="*/ 954 w 72488"/>
                <a:gd name="connsiteY14" fmla="*/ 28348 h 73400"/>
                <a:gd name="connsiteX15" fmla="*/ 5431 w 72488"/>
                <a:gd name="connsiteY15" fmla="*/ 55970 h 73400"/>
                <a:gd name="connsiteX16" fmla="*/ 36197 w 72488"/>
                <a:gd name="connsiteY16" fmla="*/ 73401 h 7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488" h="73400">
                  <a:moveTo>
                    <a:pt x="7431" y="30062"/>
                  </a:moveTo>
                  <a:cubicBezTo>
                    <a:pt x="9241" y="22252"/>
                    <a:pt x="13908" y="15679"/>
                    <a:pt x="20576" y="11488"/>
                  </a:cubicBezTo>
                  <a:cubicBezTo>
                    <a:pt x="25243" y="8536"/>
                    <a:pt x="30672" y="7012"/>
                    <a:pt x="36101" y="7012"/>
                  </a:cubicBezTo>
                  <a:cubicBezTo>
                    <a:pt x="46388" y="7012"/>
                    <a:pt x="55818" y="12346"/>
                    <a:pt x="61247" y="21109"/>
                  </a:cubicBezTo>
                  <a:cubicBezTo>
                    <a:pt x="65438" y="27871"/>
                    <a:pt x="66677" y="35872"/>
                    <a:pt x="64867" y="43588"/>
                  </a:cubicBezTo>
                  <a:cubicBezTo>
                    <a:pt x="63057" y="51398"/>
                    <a:pt x="58390" y="57970"/>
                    <a:pt x="51722" y="62161"/>
                  </a:cubicBezTo>
                  <a:cubicBezTo>
                    <a:pt x="37816" y="70924"/>
                    <a:pt x="19528" y="66543"/>
                    <a:pt x="10955" y="52541"/>
                  </a:cubicBezTo>
                  <a:cubicBezTo>
                    <a:pt x="6860" y="45778"/>
                    <a:pt x="5621" y="37777"/>
                    <a:pt x="7431" y="30062"/>
                  </a:cubicBezTo>
                  <a:moveTo>
                    <a:pt x="36197" y="73401"/>
                  </a:moveTo>
                  <a:cubicBezTo>
                    <a:pt x="42959" y="73401"/>
                    <a:pt x="49532" y="71496"/>
                    <a:pt x="55342" y="67876"/>
                  </a:cubicBezTo>
                  <a:cubicBezTo>
                    <a:pt x="63533" y="62733"/>
                    <a:pt x="69344" y="54637"/>
                    <a:pt x="71534" y="45112"/>
                  </a:cubicBezTo>
                  <a:cubicBezTo>
                    <a:pt x="73725" y="35587"/>
                    <a:pt x="72106" y="25776"/>
                    <a:pt x="67057" y="17394"/>
                  </a:cubicBezTo>
                  <a:cubicBezTo>
                    <a:pt x="62009" y="9107"/>
                    <a:pt x="53913" y="3297"/>
                    <a:pt x="44483" y="1011"/>
                  </a:cubicBezTo>
                  <a:cubicBezTo>
                    <a:pt x="35053" y="-1275"/>
                    <a:pt x="25338" y="344"/>
                    <a:pt x="17051" y="5583"/>
                  </a:cubicBezTo>
                  <a:cubicBezTo>
                    <a:pt x="8860" y="10726"/>
                    <a:pt x="3145" y="18823"/>
                    <a:pt x="954" y="28348"/>
                  </a:cubicBezTo>
                  <a:cubicBezTo>
                    <a:pt x="-1237" y="37873"/>
                    <a:pt x="382" y="47683"/>
                    <a:pt x="5431" y="55970"/>
                  </a:cubicBezTo>
                  <a:cubicBezTo>
                    <a:pt x="12003" y="67019"/>
                    <a:pt x="23528" y="73401"/>
                    <a:pt x="36197" y="73401"/>
                  </a:cubicBezTo>
                </a:path>
              </a:pathLst>
            </a:custGeom>
            <a:grpFill/>
            <a:ln w="9525" cap="flat">
              <a:noFill/>
              <a:prstDash val="solid"/>
              <a:miter/>
            </a:ln>
          </p:spPr>
          <p:txBody>
            <a:bodyPr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AU" sz="1092"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3" name="Title 2">
            <a:extLst>
              <a:ext uri="{FF2B5EF4-FFF2-40B4-BE49-F238E27FC236}">
                <a16:creationId xmlns:a16="http://schemas.microsoft.com/office/drawing/2014/main" id="{EA04B3D6-5827-2FBF-06A0-4CC0C8F618AF}"/>
              </a:ext>
            </a:extLst>
          </p:cNvPr>
          <p:cNvSpPr>
            <a:spLocks noGrp="1"/>
          </p:cNvSpPr>
          <p:nvPr>
            <p:ph type="title"/>
          </p:nvPr>
        </p:nvSpPr>
        <p:spPr>
          <a:xfrm>
            <a:off x="684637" y="354324"/>
            <a:ext cx="10478694" cy="494367"/>
          </a:xfrm>
        </p:spPr>
        <p:txBody>
          <a:bodyPr anchor="t"/>
          <a:lstStyle/>
          <a:p>
            <a:r>
              <a:rPr lang="en-GB" dirty="0">
                <a:ea typeface="Cambria" panose="02040503050406030204" pitchFamily="18" charset="0"/>
              </a:rPr>
              <a:t>Regulating AI: EU Definition</a:t>
            </a:r>
            <a:endParaRPr lang="en-AU" dirty="0">
              <a:ea typeface="Cambria" panose="02040503050406030204" pitchFamily="18" charset="0"/>
            </a:endParaRPr>
          </a:p>
        </p:txBody>
      </p:sp>
      <p:sp>
        <p:nvSpPr>
          <p:cNvPr id="11" name="TextBox 10">
            <a:extLst>
              <a:ext uri="{FF2B5EF4-FFF2-40B4-BE49-F238E27FC236}">
                <a16:creationId xmlns:a16="http://schemas.microsoft.com/office/drawing/2014/main" id="{23D56BF7-4875-C37C-B20D-BFEFD082BD18}"/>
              </a:ext>
            </a:extLst>
          </p:cNvPr>
          <p:cNvSpPr txBox="1"/>
          <p:nvPr/>
        </p:nvSpPr>
        <p:spPr>
          <a:xfrm>
            <a:off x="714168" y="1180644"/>
            <a:ext cx="2521920" cy="453970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0" i="1" u="none" strike="noStrike" kern="1200" cap="none" spc="0" normalizeH="0" baseline="0" noProof="0" dirty="0">
                <a:ln>
                  <a:noFill/>
                </a:ln>
                <a:solidFill>
                  <a:srgbClr val="182440"/>
                </a:solidFill>
                <a:effectLst/>
                <a:uLnTx/>
                <a:uFillTx/>
                <a:latin typeface="Arial" panose="020B0604020202020204" pitchFamily="34" charset="0"/>
                <a:ea typeface="+mn-ea"/>
                <a:cs typeface="+mn-cs"/>
              </a:rPr>
              <a:t>“machine-based system designed to operate with </a:t>
            </a:r>
            <a:r>
              <a:rPr kumimoji="0" lang="en-GB" sz="1700" b="0" i="1" u="none" strike="noStrike" kern="1200" cap="none" spc="0" normalizeH="0" baseline="0" noProof="0" dirty="0">
                <a:ln>
                  <a:noFill/>
                </a:ln>
                <a:solidFill>
                  <a:srgbClr val="0073CF">
                    <a:lumMod val="60000"/>
                    <a:lumOff val="40000"/>
                  </a:srgbClr>
                </a:solidFill>
                <a:effectLst/>
                <a:uLnTx/>
                <a:uFillTx/>
                <a:latin typeface="Arial" panose="020B0604020202020204" pitchFamily="34" charset="0"/>
                <a:ea typeface="+mn-ea"/>
                <a:cs typeface="+mn-cs"/>
              </a:rPr>
              <a:t>varying levels of autonomy </a:t>
            </a:r>
            <a:r>
              <a:rPr kumimoji="0" lang="en-GB" sz="1700" b="0" i="1" u="none" strike="noStrike" kern="1200" cap="none" spc="0" normalizeH="0" baseline="0" noProof="0" dirty="0">
                <a:ln>
                  <a:noFill/>
                </a:ln>
                <a:solidFill>
                  <a:srgbClr val="182440"/>
                </a:solidFill>
                <a:effectLst/>
                <a:uLnTx/>
                <a:uFillTx/>
                <a:latin typeface="Arial" panose="020B0604020202020204" pitchFamily="34" charset="0"/>
                <a:ea typeface="+mn-ea"/>
                <a:cs typeface="+mn-cs"/>
              </a:rPr>
              <a:t>and that ma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0" i="1" u="none" strike="noStrike" kern="1200" cap="none" spc="0" normalizeH="0" baseline="0" noProof="0" dirty="0">
                <a:ln>
                  <a:noFill/>
                </a:ln>
                <a:solidFill>
                  <a:srgbClr val="182440"/>
                </a:solidFill>
                <a:effectLst/>
                <a:uLnTx/>
                <a:uFillTx/>
                <a:latin typeface="Arial" panose="020B0604020202020204" pitchFamily="34" charset="0"/>
                <a:ea typeface="+mn-ea"/>
                <a:cs typeface="+mn-cs"/>
              </a:rPr>
              <a:t>exhibit </a:t>
            </a:r>
            <a:r>
              <a:rPr kumimoji="0" lang="en-GB" sz="1700" b="0" i="1" u="none" strike="noStrike" kern="1200" cap="none" spc="0" normalizeH="0" baseline="0" noProof="0" dirty="0">
                <a:ln>
                  <a:noFill/>
                </a:ln>
                <a:solidFill>
                  <a:srgbClr val="0073CF">
                    <a:lumMod val="60000"/>
                    <a:lumOff val="40000"/>
                  </a:srgbClr>
                </a:solidFill>
                <a:effectLst/>
                <a:uLnTx/>
                <a:uFillTx/>
                <a:latin typeface="Arial" panose="020B0604020202020204" pitchFamily="34" charset="0"/>
                <a:ea typeface="+mn-ea"/>
                <a:cs typeface="+mn-cs"/>
              </a:rPr>
              <a:t>adaptiveness</a:t>
            </a:r>
            <a:r>
              <a:rPr kumimoji="0" lang="en-GB" sz="1700" b="0" i="1" u="none" strike="noStrike" kern="1200" cap="none" spc="0" normalizeH="0" baseline="0" noProof="0" dirty="0">
                <a:ln>
                  <a:noFill/>
                </a:ln>
                <a:solidFill>
                  <a:srgbClr val="182440"/>
                </a:solidFill>
                <a:effectLst/>
                <a:uLnTx/>
                <a:uFillTx/>
                <a:latin typeface="Arial" panose="020B0604020202020204" pitchFamily="34" charset="0"/>
                <a:ea typeface="+mn-ea"/>
                <a:cs typeface="+mn-cs"/>
              </a:rPr>
              <a:t> after deployment and that, for explicit or implicit objectives, </a:t>
            </a:r>
            <a:r>
              <a:rPr kumimoji="0" lang="en-GB" sz="1700" b="0" i="1" u="none" strike="noStrike" kern="1200" cap="none" spc="0" normalizeH="0" baseline="0" noProof="0" dirty="0">
                <a:ln>
                  <a:noFill/>
                </a:ln>
                <a:solidFill>
                  <a:srgbClr val="0073CF">
                    <a:lumMod val="60000"/>
                    <a:lumOff val="40000"/>
                  </a:srgbClr>
                </a:solidFill>
                <a:effectLst/>
                <a:uLnTx/>
                <a:uFillTx/>
                <a:latin typeface="Arial" panose="020B0604020202020204" pitchFamily="34" charset="0"/>
                <a:ea typeface="+mn-ea"/>
                <a:cs typeface="+mn-cs"/>
              </a:rPr>
              <a:t>inf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0" i="1" u="none" strike="noStrike" kern="1200" cap="none" spc="0" normalizeH="0" baseline="0" noProof="0" dirty="0">
                <a:ln>
                  <a:noFill/>
                </a:ln>
                <a:solidFill>
                  <a:srgbClr val="0073CF">
                    <a:lumMod val="60000"/>
                    <a:lumOff val="40000"/>
                  </a:srgbClr>
                </a:solidFill>
                <a:effectLst/>
                <a:uLnTx/>
                <a:uFillTx/>
                <a:latin typeface="Arial" panose="020B0604020202020204" pitchFamily="34" charset="0"/>
                <a:ea typeface="+mn-ea"/>
                <a:cs typeface="+mn-cs"/>
              </a:rPr>
              <a:t>from the input it receives, how to generate outputs such as predictions, con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0" i="1" u="none" strike="noStrike" kern="1200" cap="none" spc="0" normalizeH="0" baseline="0" noProof="0" dirty="0">
                <a:ln>
                  <a:noFill/>
                </a:ln>
                <a:solidFill>
                  <a:srgbClr val="0073CF">
                    <a:lumMod val="60000"/>
                    <a:lumOff val="40000"/>
                  </a:srgbClr>
                </a:solidFill>
                <a:effectLst/>
                <a:uLnTx/>
                <a:uFillTx/>
                <a:latin typeface="Arial" panose="020B0604020202020204" pitchFamily="34" charset="0"/>
                <a:ea typeface="+mn-ea"/>
                <a:cs typeface="+mn-cs"/>
              </a:rPr>
              <a:t>recommendations, or decisions</a:t>
            </a:r>
            <a:r>
              <a:rPr kumimoji="0" lang="en-GB" sz="1700" b="0" i="1" u="none" strike="noStrike" kern="1200" cap="none" spc="0" normalizeH="0" baseline="0" noProof="0" dirty="0">
                <a:ln>
                  <a:noFill/>
                </a:ln>
                <a:solidFill>
                  <a:srgbClr val="182440"/>
                </a:solidFill>
                <a:effectLst/>
                <a:uLnTx/>
                <a:uFillTx/>
                <a:latin typeface="Arial" panose="020B0604020202020204" pitchFamily="34" charset="0"/>
                <a:ea typeface="+mn-ea"/>
                <a:cs typeface="+mn-cs"/>
              </a:rPr>
              <a:t> that can influence physical or virtual environments”</a:t>
            </a:r>
            <a:endParaRPr kumimoji="0" lang="en-GB" sz="1700" b="0" i="0" u="none" strike="noStrike" kern="0" cap="none" spc="-12" normalizeH="0" baseline="0" noProof="0" dirty="0">
              <a:ln>
                <a:noFill/>
              </a:ln>
              <a:solidFill>
                <a:prstClr val="black"/>
              </a:solidFill>
              <a:effectLst/>
              <a:uLnTx/>
              <a:uFillTx/>
              <a:latin typeface="Arial"/>
              <a:ea typeface="Cambria"/>
              <a:cs typeface="+mn-cs"/>
            </a:endParaRPr>
          </a:p>
        </p:txBody>
      </p:sp>
      <p:sp>
        <p:nvSpPr>
          <p:cNvPr id="14" name="Text Placeholder 54">
            <a:extLst>
              <a:ext uri="{FF2B5EF4-FFF2-40B4-BE49-F238E27FC236}">
                <a16:creationId xmlns:a16="http://schemas.microsoft.com/office/drawing/2014/main" id="{C69DFC5E-EB18-FC95-1189-7938E3EE250C}"/>
              </a:ext>
            </a:extLst>
          </p:cNvPr>
          <p:cNvSpPr txBox="1">
            <a:spLocks/>
          </p:cNvSpPr>
          <p:nvPr/>
        </p:nvSpPr>
        <p:spPr>
          <a:xfrm>
            <a:off x="3672642" y="3734224"/>
            <a:ext cx="1889351" cy="357138"/>
          </a:xfrm>
          <a:prstGeom prst="rect">
            <a:avLst/>
          </a:prstGeom>
          <a:ln>
            <a:noFill/>
          </a:ln>
        </p:spPr>
        <p:txBody>
          <a:bodyPr/>
          <a:lstStyle>
            <a:lvl1pPr marL="0" eaLnBrk="1" hangingPunct="1">
              <a:defRPr sz="1200">
                <a:latin typeface="+mn-lt"/>
                <a:ea typeface="+mn-ea"/>
                <a:cs typeface="+mn-cs"/>
              </a:defRPr>
            </a:lvl1pPr>
            <a:lvl2pPr marL="277246" eaLnBrk="1" hangingPunct="1">
              <a:defRPr sz="1200">
                <a:latin typeface="+mn-lt"/>
                <a:ea typeface="+mn-ea"/>
                <a:cs typeface="+mn-cs"/>
              </a:defRPr>
            </a:lvl2pPr>
            <a:lvl3pPr marL="554492" eaLnBrk="1" hangingPunct="1">
              <a:defRPr sz="1200">
                <a:latin typeface="+mn-lt"/>
                <a:ea typeface="+mn-ea"/>
                <a:cs typeface="+mn-cs"/>
              </a:defRPr>
            </a:lvl3pPr>
            <a:lvl4pPr marL="831738" eaLnBrk="1" hangingPunct="1">
              <a:defRPr sz="1200">
                <a:latin typeface="+mn-lt"/>
                <a:ea typeface="+mn-ea"/>
                <a:cs typeface="+mn-cs"/>
              </a:defRPr>
            </a:lvl4pPr>
            <a:lvl5pPr marL="1108984" eaLnBrk="1" hangingPunct="1">
              <a:defRPr sz="1200">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kern="0" dirty="0">
                <a:solidFill>
                  <a:prstClr val="black"/>
                </a:solidFill>
                <a:latin typeface="Cambria"/>
              </a:rPr>
              <a:t>AI</a:t>
            </a:r>
            <a:endParaRPr kumimoji="0" lang="en-US" sz="2000" b="0" i="0" u="none" strike="noStrike" kern="0" cap="none" spc="0" normalizeH="0" baseline="0" noProof="0" dirty="0">
              <a:ln>
                <a:noFill/>
              </a:ln>
              <a:solidFill>
                <a:prstClr val="black"/>
              </a:solidFill>
              <a:effectLst/>
              <a:uLnTx/>
              <a:uFillTx/>
              <a:latin typeface="Cambria"/>
              <a:ea typeface="+mn-ea"/>
              <a:cs typeface="+mn-cs"/>
            </a:endParaRPr>
          </a:p>
        </p:txBody>
      </p:sp>
      <p:sp>
        <p:nvSpPr>
          <p:cNvPr id="21" name="Oval 20">
            <a:extLst>
              <a:ext uri="{FF2B5EF4-FFF2-40B4-BE49-F238E27FC236}">
                <a16:creationId xmlns:a16="http://schemas.microsoft.com/office/drawing/2014/main" id="{90C75E6A-35D7-CB3E-1EDF-3F28250B7776}"/>
              </a:ext>
            </a:extLst>
          </p:cNvPr>
          <p:cNvSpPr/>
          <p:nvPr/>
        </p:nvSpPr>
        <p:spPr>
          <a:xfrm>
            <a:off x="4056638" y="2109580"/>
            <a:ext cx="1216800" cy="1216800"/>
          </a:xfrm>
          <a:prstGeom prst="ellipse">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AU" sz="1092" b="0" i="0" u="none" strike="noStrike" kern="1200" cap="none" spc="0" normalizeH="0" baseline="0" noProof="0" dirty="0">
              <a:ln>
                <a:noFill/>
              </a:ln>
              <a:solidFill>
                <a:prstClr val="black"/>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5AAE8AFF-3CA9-0D0F-CB11-349737DDCA1D}"/>
              </a:ext>
            </a:extLst>
          </p:cNvPr>
          <p:cNvPicPr>
            <a:picLocks noChangeAspect="1"/>
          </p:cNvPicPr>
          <p:nvPr/>
        </p:nvPicPr>
        <p:blipFill rotWithShape="1">
          <a:blip r:embed="rId6">
            <a:extLst>
              <a:ext uri="{28A0092B-C50C-407E-A947-70E740481C1C}">
                <a14:useLocalDpi xmlns:a14="http://schemas.microsoft.com/office/drawing/2010/main" val="0"/>
              </a:ext>
            </a:extLst>
          </a:blip>
          <a:srcRect l="34571" t="7369" r="3398" b="40676"/>
          <a:stretch/>
        </p:blipFill>
        <p:spPr>
          <a:xfrm>
            <a:off x="4128638" y="2192090"/>
            <a:ext cx="1072800" cy="1072800"/>
          </a:xfrm>
          <a:prstGeom prst="ellipse">
            <a:avLst/>
          </a:prstGeom>
        </p:spPr>
      </p:pic>
      <p:sp>
        <p:nvSpPr>
          <p:cNvPr id="9" name="Text Placeholder 52">
            <a:extLst>
              <a:ext uri="{FF2B5EF4-FFF2-40B4-BE49-F238E27FC236}">
                <a16:creationId xmlns:a16="http://schemas.microsoft.com/office/drawing/2014/main" id="{E2426C79-5CF1-F974-58C1-E7832B3649BC}"/>
              </a:ext>
            </a:extLst>
          </p:cNvPr>
          <p:cNvSpPr txBox="1">
            <a:spLocks/>
          </p:cNvSpPr>
          <p:nvPr/>
        </p:nvSpPr>
        <p:spPr>
          <a:xfrm>
            <a:off x="6491148" y="3734224"/>
            <a:ext cx="2083361" cy="371796"/>
          </a:xfrm>
          <a:prstGeom prst="rect">
            <a:avLst/>
          </a:prstGeom>
          <a:ln>
            <a:noFill/>
          </a:ln>
        </p:spPr>
        <p:txBody>
          <a:bodyPr/>
          <a:lstStyle>
            <a:lvl1pPr marL="0" eaLnBrk="1" hangingPunct="1">
              <a:defRPr sz="1200">
                <a:latin typeface="+mn-lt"/>
                <a:ea typeface="+mn-ea"/>
                <a:cs typeface="+mn-cs"/>
              </a:defRPr>
            </a:lvl1pPr>
            <a:lvl2pPr marL="277246" eaLnBrk="1" hangingPunct="1">
              <a:defRPr sz="1200">
                <a:latin typeface="+mn-lt"/>
                <a:ea typeface="+mn-ea"/>
                <a:cs typeface="+mn-cs"/>
              </a:defRPr>
            </a:lvl2pPr>
            <a:lvl3pPr marL="554492" eaLnBrk="1" hangingPunct="1">
              <a:defRPr sz="1200">
                <a:latin typeface="+mn-lt"/>
                <a:ea typeface="+mn-ea"/>
                <a:cs typeface="+mn-cs"/>
              </a:defRPr>
            </a:lvl3pPr>
            <a:lvl4pPr marL="831738" eaLnBrk="1" hangingPunct="1">
              <a:defRPr sz="1200">
                <a:latin typeface="+mn-lt"/>
                <a:ea typeface="+mn-ea"/>
                <a:cs typeface="+mn-cs"/>
              </a:defRPr>
            </a:lvl4pPr>
            <a:lvl5pPr marL="1108984" eaLnBrk="1" hangingPunct="1">
              <a:defRPr sz="1200">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mbria"/>
                <a:ea typeface="+mn-ea"/>
                <a:cs typeface="+mn-cs"/>
              </a:rPr>
              <a:t>Transformative</a:t>
            </a:r>
          </a:p>
        </p:txBody>
      </p:sp>
      <p:sp>
        <p:nvSpPr>
          <p:cNvPr id="28" name="Oval 27">
            <a:extLst>
              <a:ext uri="{FF2B5EF4-FFF2-40B4-BE49-F238E27FC236}">
                <a16:creationId xmlns:a16="http://schemas.microsoft.com/office/drawing/2014/main" id="{05CADD57-42BC-1EB5-5D36-17E57B4FF364}"/>
              </a:ext>
            </a:extLst>
          </p:cNvPr>
          <p:cNvSpPr/>
          <p:nvPr/>
        </p:nvSpPr>
        <p:spPr>
          <a:xfrm>
            <a:off x="6924429" y="2109580"/>
            <a:ext cx="1216800" cy="1216800"/>
          </a:xfrm>
          <a:prstGeom prst="ellipse">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AU" sz="1092" b="0" i="0" u="none" strike="noStrike" kern="1200" cap="none" spc="0" normalizeH="0" baseline="0" noProof="0" dirty="0">
              <a:ln>
                <a:noFill/>
              </a:ln>
              <a:solidFill>
                <a:prstClr val="black"/>
              </a:solidFill>
              <a:effectLst/>
              <a:uLnTx/>
              <a:uFillTx/>
              <a:latin typeface="Arial"/>
              <a:ea typeface="+mn-ea"/>
              <a:cs typeface="+mn-cs"/>
            </a:endParaRPr>
          </a:p>
        </p:txBody>
      </p:sp>
      <p:pic>
        <p:nvPicPr>
          <p:cNvPr id="10" name="Picture 9">
            <a:extLst>
              <a:ext uri="{FF2B5EF4-FFF2-40B4-BE49-F238E27FC236}">
                <a16:creationId xmlns:a16="http://schemas.microsoft.com/office/drawing/2014/main" id="{97E56A25-B234-1630-3153-0D53F731904D}"/>
              </a:ext>
            </a:extLst>
          </p:cNvPr>
          <p:cNvPicPr>
            <a:picLocks noChangeAspect="1"/>
          </p:cNvPicPr>
          <p:nvPr/>
        </p:nvPicPr>
        <p:blipFill rotWithShape="1">
          <a:blip r:embed="rId7">
            <a:extLst>
              <a:ext uri="{28A0092B-C50C-407E-A947-70E740481C1C}">
                <a14:useLocalDpi xmlns:a14="http://schemas.microsoft.com/office/drawing/2010/main" val="0"/>
              </a:ext>
            </a:extLst>
          </a:blip>
          <a:srcRect l="23619" t="38305" r="46603" b="8696"/>
          <a:stretch/>
        </p:blipFill>
        <p:spPr>
          <a:xfrm>
            <a:off x="6998061" y="2183212"/>
            <a:ext cx="1072800" cy="1072800"/>
          </a:xfrm>
          <a:prstGeom prst="ellipse">
            <a:avLst/>
          </a:prstGeom>
        </p:spPr>
      </p:pic>
      <p:sp>
        <p:nvSpPr>
          <p:cNvPr id="18" name="Oval 17">
            <a:extLst>
              <a:ext uri="{FF2B5EF4-FFF2-40B4-BE49-F238E27FC236}">
                <a16:creationId xmlns:a16="http://schemas.microsoft.com/office/drawing/2014/main" id="{505B463E-2523-0ED1-9A87-82820EE749EE}"/>
              </a:ext>
            </a:extLst>
          </p:cNvPr>
          <p:cNvSpPr/>
          <p:nvPr/>
        </p:nvSpPr>
        <p:spPr>
          <a:xfrm>
            <a:off x="9728826" y="2106831"/>
            <a:ext cx="1216800" cy="1216800"/>
          </a:xfrm>
          <a:prstGeom prst="ellipse">
            <a:avLst/>
          </a:prstGeom>
          <a:ln w="28575"/>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AU" sz="1092" b="0" i="0" u="none" strike="noStrike" kern="1200" cap="none" spc="0" normalizeH="0" baseline="0" noProof="0" dirty="0">
              <a:ln>
                <a:noFill/>
              </a:ln>
              <a:solidFill>
                <a:prstClr val="black"/>
              </a:solidFill>
              <a:effectLst/>
              <a:uLnTx/>
              <a:uFillTx/>
              <a:latin typeface="Arial"/>
              <a:ea typeface="+mn-ea"/>
              <a:cs typeface="+mn-cs"/>
            </a:endParaRPr>
          </a:p>
        </p:txBody>
      </p:sp>
      <p:pic>
        <p:nvPicPr>
          <p:cNvPr id="19" name="Picture 18">
            <a:extLst>
              <a:ext uri="{FF2B5EF4-FFF2-40B4-BE49-F238E27FC236}">
                <a16:creationId xmlns:a16="http://schemas.microsoft.com/office/drawing/2014/main" id="{B358F3F3-B786-6FA3-33BA-18F2A5014F20}"/>
              </a:ext>
            </a:extLst>
          </p:cNvPr>
          <p:cNvPicPr>
            <a:picLocks noChangeAspect="1"/>
          </p:cNvPicPr>
          <p:nvPr/>
        </p:nvPicPr>
        <p:blipFill rotWithShape="1">
          <a:blip r:embed="rId8">
            <a:extLst>
              <a:ext uri="{28A0092B-C50C-407E-A947-70E740481C1C}">
                <a14:useLocalDpi xmlns:a14="http://schemas.microsoft.com/office/drawing/2010/main" val="0"/>
              </a:ext>
            </a:extLst>
          </a:blip>
          <a:srcRect l="27408" t="36915" r="24444" b="30987"/>
          <a:stretch/>
        </p:blipFill>
        <p:spPr>
          <a:xfrm>
            <a:off x="9811336" y="2178831"/>
            <a:ext cx="1072800" cy="1072800"/>
          </a:xfrm>
          <a:prstGeom prst="ellipse">
            <a:avLst/>
          </a:prstGeom>
        </p:spPr>
      </p:pic>
      <p:sp>
        <p:nvSpPr>
          <p:cNvPr id="12" name="Text Placeholder 53">
            <a:extLst>
              <a:ext uri="{FF2B5EF4-FFF2-40B4-BE49-F238E27FC236}">
                <a16:creationId xmlns:a16="http://schemas.microsoft.com/office/drawing/2014/main" id="{78C469D0-F292-C1A5-18C6-DF91BDA16719}"/>
              </a:ext>
            </a:extLst>
          </p:cNvPr>
          <p:cNvSpPr txBox="1">
            <a:spLocks/>
          </p:cNvSpPr>
          <p:nvPr/>
        </p:nvSpPr>
        <p:spPr>
          <a:xfrm>
            <a:off x="9494639" y="3739863"/>
            <a:ext cx="1685173" cy="374545"/>
          </a:xfrm>
          <a:prstGeom prst="rect">
            <a:avLst/>
          </a:prstGeom>
          <a:ln>
            <a:noFill/>
          </a:ln>
        </p:spPr>
        <p:txBody>
          <a:bodyPr/>
          <a:lstStyle>
            <a:lvl1pPr marL="0" eaLnBrk="1" hangingPunct="1">
              <a:defRPr sz="1200">
                <a:latin typeface="+mn-lt"/>
                <a:ea typeface="+mn-ea"/>
                <a:cs typeface="+mn-cs"/>
              </a:defRPr>
            </a:lvl1pPr>
            <a:lvl2pPr marL="277246" eaLnBrk="1" hangingPunct="1">
              <a:defRPr sz="1200">
                <a:latin typeface="+mn-lt"/>
                <a:ea typeface="+mn-ea"/>
                <a:cs typeface="+mn-cs"/>
              </a:defRPr>
            </a:lvl2pPr>
            <a:lvl3pPr marL="554492" eaLnBrk="1" hangingPunct="1">
              <a:defRPr sz="1200">
                <a:latin typeface="+mn-lt"/>
                <a:ea typeface="+mn-ea"/>
                <a:cs typeface="+mn-cs"/>
              </a:defRPr>
            </a:lvl3pPr>
            <a:lvl4pPr marL="831738" eaLnBrk="1" hangingPunct="1">
              <a:defRPr sz="1200">
                <a:latin typeface="+mn-lt"/>
                <a:ea typeface="+mn-ea"/>
                <a:cs typeface="+mn-cs"/>
              </a:defRPr>
            </a:lvl4pPr>
            <a:lvl5pPr marL="1108984" eaLnBrk="1" hangingPunct="1">
              <a:defRPr sz="1200">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mbria"/>
                <a:ea typeface="+mn-ea"/>
                <a:cs typeface="+mn-cs"/>
              </a:rPr>
              <a:t>Influence</a:t>
            </a:r>
          </a:p>
        </p:txBody>
      </p:sp>
      <p:sp>
        <p:nvSpPr>
          <p:cNvPr id="13" name="Text Placeholder 50">
            <a:extLst>
              <a:ext uri="{FF2B5EF4-FFF2-40B4-BE49-F238E27FC236}">
                <a16:creationId xmlns:a16="http://schemas.microsoft.com/office/drawing/2014/main" id="{998D9615-F12B-147C-84AF-C6D4C7C07403}"/>
              </a:ext>
            </a:extLst>
          </p:cNvPr>
          <p:cNvSpPr txBox="1">
            <a:spLocks/>
          </p:cNvSpPr>
          <p:nvPr/>
        </p:nvSpPr>
        <p:spPr>
          <a:xfrm>
            <a:off x="3289970" y="4153053"/>
            <a:ext cx="2546048" cy="379140"/>
          </a:xfrm>
          <a:prstGeom prst="rect">
            <a:avLst/>
          </a:prstGeom>
        </p:spPr>
        <p:txBody>
          <a:bodyPr lIns="91440" tIns="45720" rIns="91440" bIns="45720" anchor="t"/>
          <a:lstStyle>
            <a:lvl1pPr marL="0" eaLnBrk="1" hangingPunct="1">
              <a:defRPr sz="1200">
                <a:latin typeface="+mn-lt"/>
                <a:ea typeface="+mn-ea"/>
                <a:cs typeface="+mn-cs"/>
              </a:defRPr>
            </a:lvl1pPr>
            <a:lvl2pPr marL="277246" eaLnBrk="1" hangingPunct="1">
              <a:defRPr sz="1200">
                <a:latin typeface="+mn-lt"/>
                <a:ea typeface="+mn-ea"/>
                <a:cs typeface="+mn-cs"/>
              </a:defRPr>
            </a:lvl2pPr>
            <a:lvl3pPr marL="554492" eaLnBrk="1" hangingPunct="1">
              <a:defRPr sz="1200">
                <a:latin typeface="+mn-lt"/>
                <a:ea typeface="+mn-ea"/>
                <a:cs typeface="+mn-cs"/>
              </a:defRPr>
            </a:lvl3pPr>
            <a:lvl4pPr marL="831738" eaLnBrk="1" hangingPunct="1">
              <a:defRPr sz="1200">
                <a:latin typeface="+mn-lt"/>
                <a:ea typeface="+mn-ea"/>
                <a:cs typeface="+mn-cs"/>
              </a:defRPr>
            </a:lvl4pPr>
            <a:lvl5pPr marL="1108984" eaLnBrk="1" hangingPunct="1">
              <a:defRPr sz="1200">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a:lstStyle>
          <a:p>
            <a:pPr algn="ctr">
              <a:defRPr/>
            </a:pPr>
            <a:r>
              <a:rPr lang="en-GB" sz="1100" b="1" i="1" dirty="0">
                <a:solidFill>
                  <a:schemeClr val="bg2">
                    <a:lumMod val="50000"/>
                  </a:schemeClr>
                </a:solidFill>
                <a:latin typeface="Arial" panose="020B0604020202020204" pitchFamily="34" charset="0"/>
              </a:rPr>
              <a:t>Simulation of human intelligence processes by machines</a:t>
            </a:r>
            <a:endParaRPr lang="en-AU" sz="1100" b="1" i="1" dirty="0">
              <a:solidFill>
                <a:schemeClr val="bg2">
                  <a:lumMod val="50000"/>
                </a:schemeClr>
              </a:solidFill>
              <a:latin typeface="Arial" panose="020B0604020202020204" pitchFamily="34" charset="0"/>
            </a:endParaRPr>
          </a:p>
        </p:txBody>
      </p:sp>
      <p:sp>
        <p:nvSpPr>
          <p:cNvPr id="20" name="Text Placeholder 50">
            <a:extLst>
              <a:ext uri="{FF2B5EF4-FFF2-40B4-BE49-F238E27FC236}">
                <a16:creationId xmlns:a16="http://schemas.microsoft.com/office/drawing/2014/main" id="{F156D49C-FF35-4C65-DF84-0E8FC716E0AB}"/>
              </a:ext>
            </a:extLst>
          </p:cNvPr>
          <p:cNvSpPr txBox="1">
            <a:spLocks/>
          </p:cNvSpPr>
          <p:nvPr/>
        </p:nvSpPr>
        <p:spPr>
          <a:xfrm>
            <a:off x="6259804" y="4153437"/>
            <a:ext cx="2546048" cy="379140"/>
          </a:xfrm>
          <a:prstGeom prst="rect">
            <a:avLst/>
          </a:prstGeom>
        </p:spPr>
        <p:txBody>
          <a:bodyPr lIns="91440" tIns="45720" rIns="91440" bIns="45720" anchor="t"/>
          <a:lstStyle>
            <a:lvl1pPr marL="0" eaLnBrk="1" hangingPunct="1">
              <a:defRPr sz="1200">
                <a:latin typeface="+mn-lt"/>
                <a:ea typeface="+mn-ea"/>
                <a:cs typeface="+mn-cs"/>
              </a:defRPr>
            </a:lvl1pPr>
            <a:lvl2pPr marL="277246" eaLnBrk="1" hangingPunct="1">
              <a:defRPr sz="1200">
                <a:latin typeface="+mn-lt"/>
                <a:ea typeface="+mn-ea"/>
                <a:cs typeface="+mn-cs"/>
              </a:defRPr>
            </a:lvl2pPr>
            <a:lvl3pPr marL="554492" eaLnBrk="1" hangingPunct="1">
              <a:defRPr sz="1200">
                <a:latin typeface="+mn-lt"/>
                <a:ea typeface="+mn-ea"/>
                <a:cs typeface="+mn-cs"/>
              </a:defRPr>
            </a:lvl3pPr>
            <a:lvl4pPr marL="831738" eaLnBrk="1" hangingPunct="1">
              <a:defRPr sz="1200">
                <a:latin typeface="+mn-lt"/>
                <a:ea typeface="+mn-ea"/>
                <a:cs typeface="+mn-cs"/>
              </a:defRPr>
            </a:lvl4pPr>
            <a:lvl5pPr marL="1108984" eaLnBrk="1" hangingPunct="1">
              <a:defRPr sz="1200">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a:lstStyle>
          <a:p>
            <a:pPr algn="ctr">
              <a:defRPr/>
            </a:pPr>
            <a:r>
              <a:rPr lang="en-GB" sz="1100" b="1" i="1" dirty="0">
                <a:solidFill>
                  <a:schemeClr val="bg2">
                    <a:lumMod val="50000"/>
                  </a:schemeClr>
                </a:solidFill>
                <a:latin typeface="Arial" panose="020B0604020202020204" pitchFamily="34" charset="0"/>
              </a:rPr>
              <a:t>Revolutionising business operations</a:t>
            </a:r>
            <a:endParaRPr lang="en-AU" sz="1100" b="1" i="1" dirty="0">
              <a:solidFill>
                <a:schemeClr val="bg2">
                  <a:lumMod val="50000"/>
                </a:schemeClr>
              </a:solidFill>
              <a:latin typeface="Arial" panose="020B0604020202020204" pitchFamily="34" charset="0"/>
            </a:endParaRPr>
          </a:p>
        </p:txBody>
      </p:sp>
      <p:sp>
        <p:nvSpPr>
          <p:cNvPr id="22" name="Text Placeholder 50">
            <a:extLst>
              <a:ext uri="{FF2B5EF4-FFF2-40B4-BE49-F238E27FC236}">
                <a16:creationId xmlns:a16="http://schemas.microsoft.com/office/drawing/2014/main" id="{066E4F7C-CAA7-5054-E168-3D1FCA5BCF36}"/>
              </a:ext>
            </a:extLst>
          </p:cNvPr>
          <p:cNvSpPr txBox="1">
            <a:spLocks/>
          </p:cNvSpPr>
          <p:nvPr/>
        </p:nvSpPr>
        <p:spPr>
          <a:xfrm>
            <a:off x="9064201" y="4153604"/>
            <a:ext cx="2546048" cy="379140"/>
          </a:xfrm>
          <a:prstGeom prst="rect">
            <a:avLst/>
          </a:prstGeom>
        </p:spPr>
        <p:txBody>
          <a:bodyPr lIns="91440" tIns="45720" rIns="91440" bIns="45720" anchor="t"/>
          <a:lstStyle>
            <a:lvl1pPr marL="0" eaLnBrk="1" hangingPunct="1">
              <a:defRPr sz="1200">
                <a:latin typeface="+mn-lt"/>
                <a:ea typeface="+mn-ea"/>
                <a:cs typeface="+mn-cs"/>
              </a:defRPr>
            </a:lvl1pPr>
            <a:lvl2pPr marL="277246" eaLnBrk="1" hangingPunct="1">
              <a:defRPr sz="1200">
                <a:latin typeface="+mn-lt"/>
                <a:ea typeface="+mn-ea"/>
                <a:cs typeface="+mn-cs"/>
              </a:defRPr>
            </a:lvl2pPr>
            <a:lvl3pPr marL="554492" eaLnBrk="1" hangingPunct="1">
              <a:defRPr sz="1200">
                <a:latin typeface="+mn-lt"/>
                <a:ea typeface="+mn-ea"/>
                <a:cs typeface="+mn-cs"/>
              </a:defRPr>
            </a:lvl3pPr>
            <a:lvl4pPr marL="831738" eaLnBrk="1" hangingPunct="1">
              <a:defRPr sz="1200">
                <a:latin typeface="+mn-lt"/>
                <a:ea typeface="+mn-ea"/>
                <a:cs typeface="+mn-cs"/>
              </a:defRPr>
            </a:lvl4pPr>
            <a:lvl5pPr marL="1108984" eaLnBrk="1" hangingPunct="1">
              <a:defRPr sz="1200">
                <a:latin typeface="+mn-lt"/>
                <a:ea typeface="+mn-ea"/>
                <a:cs typeface="+mn-cs"/>
              </a:defRPr>
            </a:lvl5pPr>
            <a:lvl6pPr marL="1386230" eaLnBrk="1" hangingPunct="1">
              <a:defRPr>
                <a:latin typeface="+mn-lt"/>
                <a:ea typeface="+mn-ea"/>
                <a:cs typeface="+mn-cs"/>
              </a:defRPr>
            </a:lvl6pPr>
            <a:lvl7pPr marL="1663476" eaLnBrk="1" hangingPunct="1">
              <a:defRPr>
                <a:latin typeface="+mn-lt"/>
                <a:ea typeface="+mn-ea"/>
                <a:cs typeface="+mn-cs"/>
              </a:defRPr>
            </a:lvl7pPr>
            <a:lvl8pPr marL="1940723" eaLnBrk="1" hangingPunct="1">
              <a:defRPr>
                <a:latin typeface="+mn-lt"/>
                <a:ea typeface="+mn-ea"/>
                <a:cs typeface="+mn-cs"/>
              </a:defRPr>
            </a:lvl8pPr>
            <a:lvl9pPr marL="2217969" eaLnBrk="1" hangingPunct="1">
              <a:defRPr>
                <a:latin typeface="+mn-lt"/>
                <a:ea typeface="+mn-ea"/>
                <a:cs typeface="+mn-cs"/>
              </a:defRPr>
            </a:lvl9pPr>
          </a:lstStyle>
          <a:p>
            <a:pPr algn="ctr">
              <a:defRPr/>
            </a:pPr>
            <a:r>
              <a:rPr lang="en-GB" sz="1100" b="1" i="1" dirty="0">
                <a:solidFill>
                  <a:schemeClr val="bg2">
                    <a:lumMod val="50000"/>
                  </a:schemeClr>
                </a:solidFill>
                <a:latin typeface="Arial" panose="020B0604020202020204" pitchFamily="34" charset="0"/>
              </a:rPr>
              <a:t>Rapid development and exponential growth</a:t>
            </a:r>
            <a:endParaRPr lang="en-AU" sz="1100" i="1" dirty="0">
              <a:solidFill>
                <a:schemeClr val="bg2">
                  <a:lumMod val="50000"/>
                </a:schemeClr>
              </a:solidFill>
              <a:highlight>
                <a:srgbClr val="FFFF00"/>
              </a:highlight>
              <a:latin typeface="Arial" panose="020B0604020202020204" pitchFamily="34" charset="0"/>
            </a:endParaRPr>
          </a:p>
        </p:txBody>
      </p:sp>
      <p:pic>
        <p:nvPicPr>
          <p:cNvPr id="5" name="Picture 2">
            <a:extLst>
              <a:ext uri="{FF2B5EF4-FFF2-40B4-BE49-F238E27FC236}">
                <a16:creationId xmlns:a16="http://schemas.microsoft.com/office/drawing/2014/main" id="{CA8C77B7-D048-897B-0696-FB72738C7CF7}"/>
              </a:ext>
            </a:extLst>
          </p:cNvPr>
          <p:cNvPicPr>
            <a:picLocks noChangeAspect="1" noChangeArrowheads="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bwMode="auto">
          <a:xfrm>
            <a:off x="10675058" y="274554"/>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8093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490A853-A76D-4FEB-953E-8D786FAB061B}"/>
              </a:ext>
            </a:extLst>
          </p:cNvPr>
          <p:cNvSpPr>
            <a:spLocks noGrp="1"/>
          </p:cNvSpPr>
          <p:nvPr>
            <p:ph type="sldNum" sz="quarter" idx="12"/>
          </p:nvPr>
        </p:nvSpPr>
        <p:spPr/>
        <p:txBody>
          <a:bodyPr/>
          <a:lstStyle/>
          <a:p>
            <a:fld id="{F9591D4C-BB8F-AE46-BE73-C616F30BBC5B}" type="slidenum">
              <a:rPr lang="en-US" smtClean="0"/>
              <a:pPr/>
              <a:t>12</a:t>
            </a:fld>
            <a:endParaRPr lang="en-US"/>
          </a:p>
        </p:txBody>
      </p:sp>
      <p:sp>
        <p:nvSpPr>
          <p:cNvPr id="13" name="Text Placeholder 12">
            <a:extLst>
              <a:ext uri="{FF2B5EF4-FFF2-40B4-BE49-F238E27FC236}">
                <a16:creationId xmlns:a16="http://schemas.microsoft.com/office/drawing/2014/main" id="{A6663B97-0039-4E35-B629-E3D0AD0155C9}"/>
              </a:ext>
            </a:extLst>
          </p:cNvPr>
          <p:cNvSpPr>
            <a:spLocks noGrp="1"/>
          </p:cNvSpPr>
          <p:nvPr>
            <p:ph type="body" sz="quarter" idx="15"/>
          </p:nvPr>
        </p:nvSpPr>
        <p:spPr/>
        <p:txBody>
          <a:bodyPr/>
          <a:lstStyle/>
          <a:p>
            <a:r>
              <a:rPr lang="en-GB"/>
              <a:t>Two and a half years on…</a:t>
            </a:r>
          </a:p>
        </p:txBody>
      </p:sp>
      <p:sp>
        <p:nvSpPr>
          <p:cNvPr id="12" name="Title 11">
            <a:extLst>
              <a:ext uri="{FF2B5EF4-FFF2-40B4-BE49-F238E27FC236}">
                <a16:creationId xmlns:a16="http://schemas.microsoft.com/office/drawing/2014/main" id="{6FAAFF33-6AFD-4D27-B2C8-0B8C993C983D}"/>
              </a:ext>
            </a:extLst>
          </p:cNvPr>
          <p:cNvSpPr>
            <a:spLocks noGrp="1"/>
          </p:cNvSpPr>
          <p:nvPr>
            <p:ph type="title"/>
          </p:nvPr>
        </p:nvSpPr>
        <p:spPr/>
        <p:txBody>
          <a:bodyPr/>
          <a:lstStyle/>
          <a:p>
            <a:r>
              <a:rPr lang="en-GB">
                <a:latin typeface="Cambria"/>
                <a:ea typeface="Cambria"/>
              </a:rPr>
              <a:t>EU AI Act - an update</a:t>
            </a:r>
          </a:p>
        </p:txBody>
      </p:sp>
      <p:sp>
        <p:nvSpPr>
          <p:cNvPr id="4" name="Footer Placeholder 3">
            <a:extLst>
              <a:ext uri="{FF2B5EF4-FFF2-40B4-BE49-F238E27FC236}">
                <a16:creationId xmlns:a16="http://schemas.microsoft.com/office/drawing/2014/main" id="{81107EA3-709A-4763-899C-002B81C072C1}"/>
              </a:ext>
            </a:extLst>
          </p:cNvPr>
          <p:cNvSpPr>
            <a:spLocks noGrp="1"/>
          </p:cNvSpPr>
          <p:nvPr>
            <p:ph type="ftr" sz="quarter" idx="17"/>
          </p:nvPr>
        </p:nvSpPr>
        <p:spPr/>
        <p:txBody>
          <a:bodyPr/>
          <a:lstStyle/>
          <a:p>
            <a:r>
              <a:rPr lang="en-US"/>
              <a:t>UKG/109642113</a:t>
            </a:r>
          </a:p>
        </p:txBody>
      </p:sp>
      <p:graphicFrame>
        <p:nvGraphicFramePr>
          <p:cNvPr id="15" name="Diagram 14">
            <a:extLst>
              <a:ext uri="{FF2B5EF4-FFF2-40B4-BE49-F238E27FC236}">
                <a16:creationId xmlns:a16="http://schemas.microsoft.com/office/drawing/2014/main" id="{F6FBD1C6-8799-4592-B2EF-95F0A4E050D4}"/>
              </a:ext>
            </a:extLst>
          </p:cNvPr>
          <p:cNvGraphicFramePr/>
          <p:nvPr/>
        </p:nvGraphicFramePr>
        <p:xfrm>
          <a:off x="964734" y="1686187"/>
          <a:ext cx="10511405" cy="33807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2">
            <a:extLst>
              <a:ext uri="{FF2B5EF4-FFF2-40B4-BE49-F238E27FC236}">
                <a16:creationId xmlns:a16="http://schemas.microsoft.com/office/drawing/2014/main" id="{6187AF1D-C3AB-BB9A-B171-B5D1ECBED915}"/>
              </a:ext>
            </a:extLst>
          </p:cNvPr>
          <p:cNvPicPr>
            <a:picLocks noChangeAspect="1" noChangeArrowheads="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bwMode="auto">
          <a:xfrm>
            <a:off x="10675058" y="363454"/>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3125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218C649-2146-5EFE-D66B-C98701DEEE8B}"/>
              </a:ext>
            </a:extLst>
          </p:cNvPr>
          <p:cNvSpPr>
            <a:spLocks noGrp="1"/>
          </p:cNvSpPr>
          <p:nvPr>
            <p:ph type="title"/>
          </p:nvPr>
        </p:nvSpPr>
        <p:spPr>
          <a:xfrm>
            <a:off x="505843" y="137170"/>
            <a:ext cx="11160124" cy="577153"/>
          </a:xfrm>
        </p:spPr>
        <p:txBody>
          <a:bodyPr/>
          <a:lstStyle/>
          <a:p>
            <a:r>
              <a:rPr lang="en-GB"/>
              <a:t>Timeline – staggered implementation</a:t>
            </a:r>
          </a:p>
        </p:txBody>
      </p:sp>
      <p:grpSp>
        <p:nvGrpSpPr>
          <p:cNvPr id="142" name="Group 141">
            <a:extLst>
              <a:ext uri="{FF2B5EF4-FFF2-40B4-BE49-F238E27FC236}">
                <a16:creationId xmlns:a16="http://schemas.microsoft.com/office/drawing/2014/main" id="{826FBF2E-2489-92AC-B2BC-79838E5F5C83}"/>
              </a:ext>
            </a:extLst>
          </p:cNvPr>
          <p:cNvGrpSpPr/>
          <p:nvPr/>
        </p:nvGrpSpPr>
        <p:grpSpPr>
          <a:xfrm>
            <a:off x="959673" y="1009807"/>
            <a:ext cx="2151797" cy="2137693"/>
            <a:chOff x="1213164" y="973595"/>
            <a:chExt cx="2151797" cy="2137693"/>
          </a:xfrm>
        </p:grpSpPr>
        <p:sp>
          <p:nvSpPr>
            <p:cNvPr id="5" name="Google Shape;118;p16">
              <a:extLst>
                <a:ext uri="{FF2B5EF4-FFF2-40B4-BE49-F238E27FC236}">
                  <a16:creationId xmlns:a16="http://schemas.microsoft.com/office/drawing/2014/main" id="{E0199CC3-7686-850F-A34D-B8A7B96BE3EC}"/>
                </a:ext>
              </a:extLst>
            </p:cNvPr>
            <p:cNvSpPr/>
            <p:nvPr/>
          </p:nvSpPr>
          <p:spPr>
            <a:xfrm>
              <a:off x="2770833" y="973595"/>
              <a:ext cx="306800" cy="1441216"/>
            </a:xfrm>
            <a:custGeom>
              <a:avLst/>
              <a:gdLst/>
              <a:ahLst/>
              <a:cxnLst/>
              <a:rect l="l" t="t" r="r" b="b"/>
              <a:pathLst>
                <a:path w="9204" h="44792" extrusionOk="0">
                  <a:moveTo>
                    <a:pt x="0" y="1"/>
                  </a:moveTo>
                  <a:lnTo>
                    <a:pt x="0" y="33291"/>
                  </a:lnTo>
                  <a:cubicBezTo>
                    <a:pt x="0" y="38244"/>
                    <a:pt x="2810" y="42649"/>
                    <a:pt x="7096" y="44792"/>
                  </a:cubicBezTo>
                  <a:lnTo>
                    <a:pt x="9204" y="44792"/>
                  </a:lnTo>
                  <a:lnTo>
                    <a:pt x="9204" y="43328"/>
                  </a:lnTo>
                  <a:cubicBezTo>
                    <a:pt x="5025" y="41804"/>
                    <a:pt x="2179" y="37827"/>
                    <a:pt x="2179" y="33291"/>
                  </a:cubicBezTo>
                  <a:lnTo>
                    <a:pt x="2179" y="1"/>
                  </a:lnTo>
                  <a:close/>
                </a:path>
              </a:pathLst>
            </a:custGeom>
            <a:solidFill>
              <a:schemeClr val="bg1">
                <a:lumMod val="65000"/>
              </a:schemeClr>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6" name="Google Shape;119;p16">
              <a:extLst>
                <a:ext uri="{FF2B5EF4-FFF2-40B4-BE49-F238E27FC236}">
                  <a16:creationId xmlns:a16="http://schemas.microsoft.com/office/drawing/2014/main" id="{0518FCE6-6883-74C8-0735-7F90A651A37E}"/>
                </a:ext>
              </a:extLst>
            </p:cNvPr>
            <p:cNvSpPr/>
            <p:nvPr/>
          </p:nvSpPr>
          <p:spPr>
            <a:xfrm>
              <a:off x="1213164" y="2325855"/>
              <a:ext cx="2151797" cy="785433"/>
            </a:xfrm>
            <a:custGeom>
              <a:avLst/>
              <a:gdLst/>
              <a:ahLst/>
              <a:cxnLst/>
              <a:rect l="l" t="t" r="r" b="b"/>
              <a:pathLst>
                <a:path w="45375" h="23563" extrusionOk="0">
                  <a:moveTo>
                    <a:pt x="0" y="0"/>
                  </a:moveTo>
                  <a:lnTo>
                    <a:pt x="0" y="23563"/>
                  </a:lnTo>
                  <a:lnTo>
                    <a:pt x="33599" y="23563"/>
                  </a:lnTo>
                  <a:cubicBezTo>
                    <a:pt x="40100" y="23563"/>
                    <a:pt x="45375" y="18288"/>
                    <a:pt x="45375" y="11788"/>
                  </a:cubicBezTo>
                  <a:cubicBezTo>
                    <a:pt x="45375" y="5275"/>
                    <a:pt x="40100" y="0"/>
                    <a:pt x="33599" y="0"/>
                  </a:cubicBezTo>
                  <a:close/>
                </a:path>
              </a:pathLst>
            </a:custGeom>
            <a:solidFill>
              <a:schemeClr val="bg1">
                <a:lumMod val="65000"/>
              </a:schemeClr>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220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13 March 2024</a:t>
              </a:r>
              <a:endParaRPr kumimoji="0" sz="220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endParaRPr>
            </a:p>
          </p:txBody>
        </p:sp>
      </p:grpSp>
      <p:grpSp>
        <p:nvGrpSpPr>
          <p:cNvPr id="25" name="Group 24">
            <a:extLst>
              <a:ext uri="{FF2B5EF4-FFF2-40B4-BE49-F238E27FC236}">
                <a16:creationId xmlns:a16="http://schemas.microsoft.com/office/drawing/2014/main" id="{019E07BA-09B3-C87C-C094-3AF7138DBADF}"/>
              </a:ext>
            </a:extLst>
          </p:cNvPr>
          <p:cNvGrpSpPr/>
          <p:nvPr/>
        </p:nvGrpSpPr>
        <p:grpSpPr>
          <a:xfrm>
            <a:off x="2682010" y="1136916"/>
            <a:ext cx="387367" cy="381433"/>
            <a:chOff x="3659764" y="964904"/>
            <a:chExt cx="387367" cy="381433"/>
          </a:xfrm>
        </p:grpSpPr>
        <p:sp>
          <p:nvSpPr>
            <p:cNvPr id="7" name="Google Shape;120;p16">
              <a:extLst>
                <a:ext uri="{FF2B5EF4-FFF2-40B4-BE49-F238E27FC236}">
                  <a16:creationId xmlns:a16="http://schemas.microsoft.com/office/drawing/2014/main" id="{53A3E654-679F-2548-7EAA-458286326943}"/>
                </a:ext>
              </a:extLst>
            </p:cNvPr>
            <p:cNvSpPr/>
            <p:nvPr/>
          </p:nvSpPr>
          <p:spPr>
            <a:xfrm>
              <a:off x="3753431" y="1055405"/>
              <a:ext cx="200067" cy="200067"/>
            </a:xfrm>
            <a:custGeom>
              <a:avLst/>
              <a:gdLst/>
              <a:ahLst/>
              <a:cxnLst/>
              <a:rect l="l" t="t" r="r" b="b"/>
              <a:pathLst>
                <a:path w="6002" h="6002" extrusionOk="0">
                  <a:moveTo>
                    <a:pt x="3001" y="536"/>
                  </a:moveTo>
                  <a:cubicBezTo>
                    <a:pt x="4358" y="536"/>
                    <a:pt x="5465" y="1643"/>
                    <a:pt x="5465" y="3001"/>
                  </a:cubicBezTo>
                  <a:cubicBezTo>
                    <a:pt x="5465" y="4370"/>
                    <a:pt x="4358" y="5465"/>
                    <a:pt x="3001" y="5465"/>
                  </a:cubicBezTo>
                  <a:cubicBezTo>
                    <a:pt x="1643" y="5465"/>
                    <a:pt x="536" y="4370"/>
                    <a:pt x="536" y="3001"/>
                  </a:cubicBezTo>
                  <a:cubicBezTo>
                    <a:pt x="536" y="1643"/>
                    <a:pt x="1643" y="536"/>
                    <a:pt x="3001" y="536"/>
                  </a:cubicBezTo>
                  <a:close/>
                  <a:moveTo>
                    <a:pt x="3001" y="0"/>
                  </a:moveTo>
                  <a:cubicBezTo>
                    <a:pt x="1346" y="0"/>
                    <a:pt x="0" y="1346"/>
                    <a:pt x="0" y="3001"/>
                  </a:cubicBezTo>
                  <a:cubicBezTo>
                    <a:pt x="0" y="4656"/>
                    <a:pt x="1346" y="6001"/>
                    <a:pt x="3001" y="6001"/>
                  </a:cubicBezTo>
                  <a:cubicBezTo>
                    <a:pt x="4656" y="6001"/>
                    <a:pt x="6001" y="4656"/>
                    <a:pt x="6001" y="3001"/>
                  </a:cubicBezTo>
                  <a:cubicBezTo>
                    <a:pt x="6001" y="1346"/>
                    <a:pt x="4656" y="0"/>
                    <a:pt x="3001"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8" name="Google Shape;121;p16">
              <a:extLst>
                <a:ext uri="{FF2B5EF4-FFF2-40B4-BE49-F238E27FC236}">
                  <a16:creationId xmlns:a16="http://schemas.microsoft.com/office/drawing/2014/main" id="{77199470-9D0B-30FA-6F87-A2B819A1C0CB}"/>
                </a:ext>
              </a:extLst>
            </p:cNvPr>
            <p:cNvSpPr/>
            <p:nvPr/>
          </p:nvSpPr>
          <p:spPr>
            <a:xfrm>
              <a:off x="3659764" y="964904"/>
              <a:ext cx="387367" cy="381433"/>
            </a:xfrm>
            <a:custGeom>
              <a:avLst/>
              <a:gdLst/>
              <a:ahLst/>
              <a:cxnLst/>
              <a:rect l="l" t="t" r="r" b="b"/>
              <a:pathLst>
                <a:path w="11621" h="11443" extrusionOk="0">
                  <a:moveTo>
                    <a:pt x="7085" y="596"/>
                  </a:moveTo>
                  <a:cubicBezTo>
                    <a:pt x="7335" y="656"/>
                    <a:pt x="7573" y="739"/>
                    <a:pt x="7799" y="834"/>
                  </a:cubicBezTo>
                  <a:lnTo>
                    <a:pt x="7799" y="929"/>
                  </a:lnTo>
                  <a:cubicBezTo>
                    <a:pt x="7751" y="1846"/>
                    <a:pt x="7728" y="2418"/>
                    <a:pt x="8049" y="2644"/>
                  </a:cubicBezTo>
                  <a:cubicBezTo>
                    <a:pt x="8144" y="2715"/>
                    <a:pt x="8263" y="2751"/>
                    <a:pt x="8406" y="2751"/>
                  </a:cubicBezTo>
                  <a:cubicBezTo>
                    <a:pt x="8752" y="2751"/>
                    <a:pt x="9252" y="2549"/>
                    <a:pt x="9776" y="2346"/>
                  </a:cubicBezTo>
                  <a:lnTo>
                    <a:pt x="9847" y="2322"/>
                  </a:lnTo>
                  <a:cubicBezTo>
                    <a:pt x="10014" y="2513"/>
                    <a:pt x="10157" y="2715"/>
                    <a:pt x="10287" y="2930"/>
                  </a:cubicBezTo>
                  <a:lnTo>
                    <a:pt x="10252" y="2977"/>
                  </a:lnTo>
                  <a:cubicBezTo>
                    <a:pt x="9668" y="3692"/>
                    <a:pt x="9311" y="4156"/>
                    <a:pt x="9430" y="4549"/>
                  </a:cubicBezTo>
                  <a:cubicBezTo>
                    <a:pt x="9549" y="4918"/>
                    <a:pt x="10097" y="5073"/>
                    <a:pt x="10978" y="5299"/>
                  </a:cubicBezTo>
                  <a:lnTo>
                    <a:pt x="11073" y="5335"/>
                  </a:lnTo>
                  <a:cubicBezTo>
                    <a:pt x="11085" y="5454"/>
                    <a:pt x="11097" y="5585"/>
                    <a:pt x="11097" y="5716"/>
                  </a:cubicBezTo>
                  <a:cubicBezTo>
                    <a:pt x="11097" y="5859"/>
                    <a:pt x="11085" y="5978"/>
                    <a:pt x="11073" y="6109"/>
                  </a:cubicBezTo>
                  <a:lnTo>
                    <a:pt x="10954" y="6144"/>
                  </a:lnTo>
                  <a:cubicBezTo>
                    <a:pt x="10085" y="6371"/>
                    <a:pt x="9549" y="6525"/>
                    <a:pt x="9430" y="6894"/>
                  </a:cubicBezTo>
                  <a:cubicBezTo>
                    <a:pt x="9311" y="7275"/>
                    <a:pt x="9656" y="7740"/>
                    <a:pt x="10252" y="8466"/>
                  </a:cubicBezTo>
                  <a:lnTo>
                    <a:pt x="10287" y="8514"/>
                  </a:lnTo>
                  <a:cubicBezTo>
                    <a:pt x="10157" y="8716"/>
                    <a:pt x="10014" y="8930"/>
                    <a:pt x="9847" y="9121"/>
                  </a:cubicBezTo>
                  <a:lnTo>
                    <a:pt x="9787" y="9097"/>
                  </a:lnTo>
                  <a:cubicBezTo>
                    <a:pt x="9264" y="8895"/>
                    <a:pt x="8763" y="8692"/>
                    <a:pt x="8406" y="8692"/>
                  </a:cubicBezTo>
                  <a:cubicBezTo>
                    <a:pt x="8263" y="8692"/>
                    <a:pt x="8144" y="8728"/>
                    <a:pt x="8049" y="8799"/>
                  </a:cubicBezTo>
                  <a:cubicBezTo>
                    <a:pt x="7728" y="9026"/>
                    <a:pt x="7751" y="9597"/>
                    <a:pt x="7799" y="10514"/>
                  </a:cubicBezTo>
                  <a:lnTo>
                    <a:pt x="7799" y="10609"/>
                  </a:lnTo>
                  <a:cubicBezTo>
                    <a:pt x="7573" y="10704"/>
                    <a:pt x="7335" y="10776"/>
                    <a:pt x="7085" y="10835"/>
                  </a:cubicBezTo>
                  <a:lnTo>
                    <a:pt x="7073" y="10812"/>
                  </a:lnTo>
                  <a:cubicBezTo>
                    <a:pt x="6561" y="10014"/>
                    <a:pt x="6227" y="9526"/>
                    <a:pt x="5811" y="9526"/>
                  </a:cubicBezTo>
                  <a:cubicBezTo>
                    <a:pt x="5406" y="9526"/>
                    <a:pt x="5073" y="10002"/>
                    <a:pt x="4572" y="10788"/>
                  </a:cubicBezTo>
                  <a:lnTo>
                    <a:pt x="4537" y="10835"/>
                  </a:lnTo>
                  <a:cubicBezTo>
                    <a:pt x="4299" y="10776"/>
                    <a:pt x="4061" y="10704"/>
                    <a:pt x="3822" y="10609"/>
                  </a:cubicBezTo>
                  <a:lnTo>
                    <a:pt x="3822" y="10526"/>
                  </a:lnTo>
                  <a:cubicBezTo>
                    <a:pt x="3882" y="9597"/>
                    <a:pt x="3894" y="9026"/>
                    <a:pt x="3584" y="8799"/>
                  </a:cubicBezTo>
                  <a:cubicBezTo>
                    <a:pt x="3489" y="8728"/>
                    <a:pt x="3370" y="8692"/>
                    <a:pt x="3215" y="8692"/>
                  </a:cubicBezTo>
                  <a:cubicBezTo>
                    <a:pt x="2870" y="8692"/>
                    <a:pt x="2370" y="8883"/>
                    <a:pt x="1846" y="9097"/>
                  </a:cubicBezTo>
                  <a:lnTo>
                    <a:pt x="1786" y="9121"/>
                  </a:lnTo>
                  <a:cubicBezTo>
                    <a:pt x="1620" y="8930"/>
                    <a:pt x="1477" y="8728"/>
                    <a:pt x="1334" y="8514"/>
                  </a:cubicBezTo>
                  <a:lnTo>
                    <a:pt x="1382" y="8454"/>
                  </a:lnTo>
                  <a:cubicBezTo>
                    <a:pt x="1965" y="7740"/>
                    <a:pt x="2322" y="7275"/>
                    <a:pt x="2191" y="6894"/>
                  </a:cubicBezTo>
                  <a:cubicBezTo>
                    <a:pt x="2072" y="6525"/>
                    <a:pt x="1536" y="6371"/>
                    <a:pt x="667" y="6144"/>
                  </a:cubicBezTo>
                  <a:lnTo>
                    <a:pt x="548" y="6109"/>
                  </a:lnTo>
                  <a:cubicBezTo>
                    <a:pt x="536" y="5978"/>
                    <a:pt x="536" y="5847"/>
                    <a:pt x="536" y="5716"/>
                  </a:cubicBezTo>
                  <a:cubicBezTo>
                    <a:pt x="536" y="5585"/>
                    <a:pt x="536" y="5454"/>
                    <a:pt x="548" y="5335"/>
                  </a:cubicBezTo>
                  <a:lnTo>
                    <a:pt x="655" y="5299"/>
                  </a:lnTo>
                  <a:cubicBezTo>
                    <a:pt x="1536" y="5073"/>
                    <a:pt x="2072" y="4918"/>
                    <a:pt x="2203" y="4537"/>
                  </a:cubicBezTo>
                  <a:cubicBezTo>
                    <a:pt x="2322" y="4156"/>
                    <a:pt x="1965" y="3704"/>
                    <a:pt x="1370" y="2977"/>
                  </a:cubicBezTo>
                  <a:lnTo>
                    <a:pt x="1334" y="2930"/>
                  </a:lnTo>
                  <a:cubicBezTo>
                    <a:pt x="1465" y="2715"/>
                    <a:pt x="1620" y="2513"/>
                    <a:pt x="1786" y="2322"/>
                  </a:cubicBezTo>
                  <a:lnTo>
                    <a:pt x="1858" y="2346"/>
                  </a:lnTo>
                  <a:cubicBezTo>
                    <a:pt x="2382" y="2549"/>
                    <a:pt x="2870" y="2751"/>
                    <a:pt x="3215" y="2751"/>
                  </a:cubicBezTo>
                  <a:cubicBezTo>
                    <a:pt x="3370" y="2751"/>
                    <a:pt x="3489" y="2715"/>
                    <a:pt x="3584" y="2644"/>
                  </a:cubicBezTo>
                  <a:cubicBezTo>
                    <a:pt x="3894" y="2418"/>
                    <a:pt x="3882" y="1834"/>
                    <a:pt x="3822" y="918"/>
                  </a:cubicBezTo>
                  <a:lnTo>
                    <a:pt x="3822" y="834"/>
                  </a:lnTo>
                  <a:cubicBezTo>
                    <a:pt x="4049" y="739"/>
                    <a:pt x="4287" y="656"/>
                    <a:pt x="4537" y="596"/>
                  </a:cubicBezTo>
                  <a:lnTo>
                    <a:pt x="4561" y="632"/>
                  </a:lnTo>
                  <a:cubicBezTo>
                    <a:pt x="5073" y="1429"/>
                    <a:pt x="5406" y="1918"/>
                    <a:pt x="5811" y="1918"/>
                  </a:cubicBezTo>
                  <a:cubicBezTo>
                    <a:pt x="6227" y="1918"/>
                    <a:pt x="6561" y="1418"/>
                    <a:pt x="7085" y="608"/>
                  </a:cubicBezTo>
                  <a:lnTo>
                    <a:pt x="7085" y="596"/>
                  </a:lnTo>
                  <a:close/>
                  <a:moveTo>
                    <a:pt x="4787" y="1"/>
                  </a:moveTo>
                  <a:lnTo>
                    <a:pt x="4608" y="36"/>
                  </a:lnTo>
                  <a:cubicBezTo>
                    <a:pt x="4203" y="120"/>
                    <a:pt x="3810" y="251"/>
                    <a:pt x="3441" y="417"/>
                  </a:cubicBezTo>
                  <a:lnTo>
                    <a:pt x="3275" y="501"/>
                  </a:lnTo>
                  <a:lnTo>
                    <a:pt x="3299" y="941"/>
                  </a:lnTo>
                  <a:cubicBezTo>
                    <a:pt x="3322" y="1370"/>
                    <a:pt x="3358" y="2084"/>
                    <a:pt x="3275" y="2203"/>
                  </a:cubicBezTo>
                  <a:cubicBezTo>
                    <a:pt x="3275" y="2203"/>
                    <a:pt x="3263" y="2215"/>
                    <a:pt x="3215" y="2215"/>
                  </a:cubicBezTo>
                  <a:cubicBezTo>
                    <a:pt x="2977" y="2215"/>
                    <a:pt x="2477" y="2025"/>
                    <a:pt x="2048" y="1846"/>
                  </a:cubicBezTo>
                  <a:lnTo>
                    <a:pt x="1632" y="1691"/>
                  </a:lnTo>
                  <a:lnTo>
                    <a:pt x="1501" y="1822"/>
                  </a:lnTo>
                  <a:cubicBezTo>
                    <a:pt x="1227" y="2144"/>
                    <a:pt x="977" y="2477"/>
                    <a:pt x="786" y="2823"/>
                  </a:cubicBezTo>
                  <a:lnTo>
                    <a:pt x="691" y="2977"/>
                  </a:lnTo>
                  <a:lnTo>
                    <a:pt x="965" y="3311"/>
                  </a:lnTo>
                  <a:cubicBezTo>
                    <a:pt x="1239" y="3656"/>
                    <a:pt x="1703" y="4216"/>
                    <a:pt x="1691" y="4370"/>
                  </a:cubicBezTo>
                  <a:cubicBezTo>
                    <a:pt x="1608" y="4501"/>
                    <a:pt x="929" y="4680"/>
                    <a:pt x="524" y="4787"/>
                  </a:cubicBezTo>
                  <a:lnTo>
                    <a:pt x="60" y="4906"/>
                  </a:lnTo>
                  <a:lnTo>
                    <a:pt x="36" y="5097"/>
                  </a:lnTo>
                  <a:cubicBezTo>
                    <a:pt x="12" y="5299"/>
                    <a:pt x="0" y="5513"/>
                    <a:pt x="0" y="5716"/>
                  </a:cubicBezTo>
                  <a:cubicBezTo>
                    <a:pt x="0" y="5930"/>
                    <a:pt x="12" y="6144"/>
                    <a:pt x="36" y="6347"/>
                  </a:cubicBezTo>
                  <a:lnTo>
                    <a:pt x="60" y="6525"/>
                  </a:lnTo>
                  <a:lnTo>
                    <a:pt x="536" y="6656"/>
                  </a:lnTo>
                  <a:cubicBezTo>
                    <a:pt x="929" y="6763"/>
                    <a:pt x="1608" y="6942"/>
                    <a:pt x="1691" y="7049"/>
                  </a:cubicBezTo>
                  <a:cubicBezTo>
                    <a:pt x="1703" y="7216"/>
                    <a:pt x="1239" y="7787"/>
                    <a:pt x="965" y="8121"/>
                  </a:cubicBezTo>
                  <a:lnTo>
                    <a:pt x="691" y="8466"/>
                  </a:lnTo>
                  <a:lnTo>
                    <a:pt x="786" y="8621"/>
                  </a:lnTo>
                  <a:cubicBezTo>
                    <a:pt x="989" y="8978"/>
                    <a:pt x="1239" y="9311"/>
                    <a:pt x="1513" y="9621"/>
                  </a:cubicBezTo>
                  <a:lnTo>
                    <a:pt x="1632" y="9752"/>
                  </a:lnTo>
                  <a:lnTo>
                    <a:pt x="2036" y="9585"/>
                  </a:lnTo>
                  <a:cubicBezTo>
                    <a:pt x="2477" y="9419"/>
                    <a:pt x="2977" y="9228"/>
                    <a:pt x="3215" y="9228"/>
                  </a:cubicBezTo>
                  <a:lnTo>
                    <a:pt x="3263" y="9228"/>
                  </a:lnTo>
                  <a:cubicBezTo>
                    <a:pt x="3358" y="9383"/>
                    <a:pt x="3322" y="10073"/>
                    <a:pt x="3299" y="10490"/>
                  </a:cubicBezTo>
                  <a:lnTo>
                    <a:pt x="3275" y="10943"/>
                  </a:lnTo>
                  <a:lnTo>
                    <a:pt x="3441" y="11026"/>
                  </a:lnTo>
                  <a:cubicBezTo>
                    <a:pt x="3822" y="11193"/>
                    <a:pt x="4215" y="11324"/>
                    <a:pt x="4608" y="11407"/>
                  </a:cubicBezTo>
                  <a:lnTo>
                    <a:pt x="4787" y="11443"/>
                  </a:lnTo>
                  <a:lnTo>
                    <a:pt x="5025" y="11074"/>
                  </a:lnTo>
                  <a:cubicBezTo>
                    <a:pt x="5251" y="10704"/>
                    <a:pt x="5656" y="10097"/>
                    <a:pt x="5811" y="10050"/>
                  </a:cubicBezTo>
                  <a:cubicBezTo>
                    <a:pt x="5977" y="10097"/>
                    <a:pt x="6394" y="10752"/>
                    <a:pt x="6620" y="11109"/>
                  </a:cubicBezTo>
                  <a:lnTo>
                    <a:pt x="6847" y="11443"/>
                  </a:lnTo>
                  <a:lnTo>
                    <a:pt x="7025" y="11407"/>
                  </a:lnTo>
                  <a:cubicBezTo>
                    <a:pt x="7418" y="11324"/>
                    <a:pt x="7811" y="11193"/>
                    <a:pt x="8192" y="11026"/>
                  </a:cubicBezTo>
                  <a:lnTo>
                    <a:pt x="8359" y="10954"/>
                  </a:lnTo>
                  <a:lnTo>
                    <a:pt x="8335" y="10490"/>
                  </a:lnTo>
                  <a:cubicBezTo>
                    <a:pt x="8311" y="10062"/>
                    <a:pt x="8263" y="9359"/>
                    <a:pt x="8359" y="9228"/>
                  </a:cubicBezTo>
                  <a:lnTo>
                    <a:pt x="8406" y="9228"/>
                  </a:lnTo>
                  <a:cubicBezTo>
                    <a:pt x="8656" y="9228"/>
                    <a:pt x="9156" y="9419"/>
                    <a:pt x="9597" y="9597"/>
                  </a:cubicBezTo>
                  <a:lnTo>
                    <a:pt x="10002" y="9752"/>
                  </a:lnTo>
                  <a:lnTo>
                    <a:pt x="10121" y="9621"/>
                  </a:lnTo>
                  <a:cubicBezTo>
                    <a:pt x="10407" y="9300"/>
                    <a:pt x="10645" y="8966"/>
                    <a:pt x="10847" y="8621"/>
                  </a:cubicBezTo>
                  <a:lnTo>
                    <a:pt x="10942" y="8466"/>
                  </a:lnTo>
                  <a:lnTo>
                    <a:pt x="10668" y="8121"/>
                  </a:lnTo>
                  <a:cubicBezTo>
                    <a:pt x="10383" y="7787"/>
                    <a:pt x="9930" y="7216"/>
                    <a:pt x="9930" y="7073"/>
                  </a:cubicBezTo>
                  <a:cubicBezTo>
                    <a:pt x="10026" y="6942"/>
                    <a:pt x="10692" y="6763"/>
                    <a:pt x="11097" y="6656"/>
                  </a:cubicBezTo>
                  <a:lnTo>
                    <a:pt x="11573" y="6525"/>
                  </a:lnTo>
                  <a:lnTo>
                    <a:pt x="11597" y="6347"/>
                  </a:lnTo>
                  <a:cubicBezTo>
                    <a:pt x="11609" y="6144"/>
                    <a:pt x="11621" y="5942"/>
                    <a:pt x="11621" y="5716"/>
                  </a:cubicBezTo>
                  <a:cubicBezTo>
                    <a:pt x="11621" y="5501"/>
                    <a:pt x="11609" y="5299"/>
                    <a:pt x="11597" y="5097"/>
                  </a:cubicBezTo>
                  <a:lnTo>
                    <a:pt x="11573" y="4906"/>
                  </a:lnTo>
                  <a:lnTo>
                    <a:pt x="11109" y="4787"/>
                  </a:lnTo>
                  <a:cubicBezTo>
                    <a:pt x="10704" y="4680"/>
                    <a:pt x="10026" y="4501"/>
                    <a:pt x="9942" y="4394"/>
                  </a:cubicBezTo>
                  <a:cubicBezTo>
                    <a:pt x="9930" y="4216"/>
                    <a:pt x="10395" y="3644"/>
                    <a:pt x="10668" y="3311"/>
                  </a:cubicBezTo>
                  <a:lnTo>
                    <a:pt x="10942" y="2977"/>
                  </a:lnTo>
                  <a:lnTo>
                    <a:pt x="10847" y="2823"/>
                  </a:lnTo>
                  <a:cubicBezTo>
                    <a:pt x="10645" y="2477"/>
                    <a:pt x="10407" y="2144"/>
                    <a:pt x="10121" y="1822"/>
                  </a:cubicBezTo>
                  <a:lnTo>
                    <a:pt x="10002" y="1691"/>
                  </a:lnTo>
                  <a:lnTo>
                    <a:pt x="9585" y="1846"/>
                  </a:lnTo>
                  <a:cubicBezTo>
                    <a:pt x="9144" y="2025"/>
                    <a:pt x="8656" y="2215"/>
                    <a:pt x="8406" y="2215"/>
                  </a:cubicBezTo>
                  <a:lnTo>
                    <a:pt x="8371" y="2215"/>
                  </a:lnTo>
                  <a:cubicBezTo>
                    <a:pt x="8263" y="2061"/>
                    <a:pt x="8311" y="1370"/>
                    <a:pt x="8335" y="953"/>
                  </a:cubicBezTo>
                  <a:lnTo>
                    <a:pt x="8359" y="489"/>
                  </a:lnTo>
                  <a:lnTo>
                    <a:pt x="8192" y="417"/>
                  </a:lnTo>
                  <a:cubicBezTo>
                    <a:pt x="7811" y="251"/>
                    <a:pt x="7418" y="120"/>
                    <a:pt x="7025" y="36"/>
                  </a:cubicBezTo>
                  <a:lnTo>
                    <a:pt x="6847" y="1"/>
                  </a:lnTo>
                  <a:lnTo>
                    <a:pt x="6632" y="322"/>
                  </a:lnTo>
                  <a:cubicBezTo>
                    <a:pt x="6406" y="679"/>
                    <a:pt x="5977" y="1346"/>
                    <a:pt x="5823" y="1382"/>
                  </a:cubicBezTo>
                  <a:cubicBezTo>
                    <a:pt x="5644" y="1346"/>
                    <a:pt x="5251" y="715"/>
                    <a:pt x="5013" y="346"/>
                  </a:cubicBezTo>
                  <a:lnTo>
                    <a:pt x="4787"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grpSp>
      <p:grpSp>
        <p:nvGrpSpPr>
          <p:cNvPr id="143" name="Group 142">
            <a:extLst>
              <a:ext uri="{FF2B5EF4-FFF2-40B4-BE49-F238E27FC236}">
                <a16:creationId xmlns:a16="http://schemas.microsoft.com/office/drawing/2014/main" id="{0FEEE324-07A6-EDEB-1827-61A7F23F1356}"/>
              </a:ext>
            </a:extLst>
          </p:cNvPr>
          <p:cNvGrpSpPr/>
          <p:nvPr/>
        </p:nvGrpSpPr>
        <p:grpSpPr>
          <a:xfrm>
            <a:off x="729309" y="1155746"/>
            <a:ext cx="1806266" cy="1048089"/>
            <a:chOff x="982800" y="1119534"/>
            <a:chExt cx="1806266" cy="1048089"/>
          </a:xfrm>
        </p:grpSpPr>
        <p:sp>
          <p:nvSpPr>
            <p:cNvPr id="10" name="Google Shape;122;p16">
              <a:extLst>
                <a:ext uri="{FF2B5EF4-FFF2-40B4-BE49-F238E27FC236}">
                  <a16:creationId xmlns:a16="http://schemas.microsoft.com/office/drawing/2014/main" id="{544A9EB2-50D7-81A5-D29B-D9FEC50DBC85}"/>
                </a:ext>
              </a:extLst>
            </p:cNvPr>
            <p:cNvSpPr txBox="1"/>
            <p:nvPr/>
          </p:nvSpPr>
          <p:spPr>
            <a:xfrm>
              <a:off x="1047866" y="1694760"/>
              <a:ext cx="1741200" cy="472863"/>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endParaRPr kumimoji="0" sz="1600" b="0" i="0" u="none" strike="noStrike" kern="0" cap="none" spc="0" normalizeH="0" baseline="0" noProof="0">
                <a:ln>
                  <a:noFill/>
                </a:ln>
                <a:solidFill>
                  <a:prstClr val="white"/>
                </a:solidFill>
                <a:effectLst/>
                <a:uLnTx/>
                <a:uFillTx/>
                <a:latin typeface="Arial" panose="020B0604020202020204" pitchFamily="34" charset="0"/>
                <a:ea typeface="Roboto"/>
                <a:cs typeface="Arial" panose="020B0604020202020204" pitchFamily="34" charset="0"/>
                <a:sym typeface="Roboto"/>
              </a:endParaRPr>
            </a:p>
          </p:txBody>
        </p:sp>
        <p:sp>
          <p:nvSpPr>
            <p:cNvPr id="11" name="Google Shape;123;p16">
              <a:extLst>
                <a:ext uri="{FF2B5EF4-FFF2-40B4-BE49-F238E27FC236}">
                  <a16:creationId xmlns:a16="http://schemas.microsoft.com/office/drawing/2014/main" id="{95718EEB-8363-85C3-01DD-CEAC327692DE}"/>
                </a:ext>
              </a:extLst>
            </p:cNvPr>
            <p:cNvSpPr txBox="1"/>
            <p:nvPr/>
          </p:nvSpPr>
          <p:spPr>
            <a:xfrm>
              <a:off x="982800" y="1119534"/>
              <a:ext cx="1741200" cy="572800"/>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2267" b="0" i="0" u="none" strike="noStrike" kern="0" cap="none" spc="0" normalizeH="0" baseline="0" noProof="0" dirty="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rPr>
                <a:t>EU Parliament Votes</a:t>
              </a:r>
              <a:endParaRPr kumimoji="0" sz="2267" b="0" i="0" u="none" strike="noStrike" kern="0" cap="none" spc="0" normalizeH="0" baseline="0" noProof="0" dirty="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endParaRPr>
            </a:p>
          </p:txBody>
        </p:sp>
      </p:grpSp>
      <p:grpSp>
        <p:nvGrpSpPr>
          <p:cNvPr id="144" name="Group 143">
            <a:extLst>
              <a:ext uri="{FF2B5EF4-FFF2-40B4-BE49-F238E27FC236}">
                <a16:creationId xmlns:a16="http://schemas.microsoft.com/office/drawing/2014/main" id="{F8498E72-A445-B730-E9C1-D3A8F4A6004B}"/>
              </a:ext>
            </a:extLst>
          </p:cNvPr>
          <p:cNvGrpSpPr/>
          <p:nvPr/>
        </p:nvGrpSpPr>
        <p:grpSpPr>
          <a:xfrm>
            <a:off x="5602089" y="1019646"/>
            <a:ext cx="2305497" cy="2119115"/>
            <a:chOff x="5855580" y="983434"/>
            <a:chExt cx="2305497" cy="2119115"/>
          </a:xfrm>
        </p:grpSpPr>
        <p:sp>
          <p:nvSpPr>
            <p:cNvPr id="38" name="Google Shape;125;p16">
              <a:extLst>
                <a:ext uri="{FF2B5EF4-FFF2-40B4-BE49-F238E27FC236}">
                  <a16:creationId xmlns:a16="http://schemas.microsoft.com/office/drawing/2014/main" id="{26912245-E16C-B40D-A7E6-190FD3CBF992}"/>
                </a:ext>
              </a:extLst>
            </p:cNvPr>
            <p:cNvSpPr/>
            <p:nvPr/>
          </p:nvSpPr>
          <p:spPr>
            <a:xfrm>
              <a:off x="7606394" y="983434"/>
              <a:ext cx="306800" cy="1441216"/>
            </a:xfrm>
            <a:custGeom>
              <a:avLst/>
              <a:gdLst/>
              <a:ahLst/>
              <a:cxnLst/>
              <a:rect l="l" t="t" r="r" b="b"/>
              <a:pathLst>
                <a:path w="9204" h="44792" extrusionOk="0">
                  <a:moveTo>
                    <a:pt x="0" y="1"/>
                  </a:moveTo>
                  <a:lnTo>
                    <a:pt x="0" y="33291"/>
                  </a:lnTo>
                  <a:cubicBezTo>
                    <a:pt x="0" y="38244"/>
                    <a:pt x="2810" y="42649"/>
                    <a:pt x="7097" y="44792"/>
                  </a:cubicBezTo>
                  <a:lnTo>
                    <a:pt x="9204" y="44792"/>
                  </a:lnTo>
                  <a:lnTo>
                    <a:pt x="9204" y="43328"/>
                  </a:lnTo>
                  <a:cubicBezTo>
                    <a:pt x="5025" y="41804"/>
                    <a:pt x="2179" y="37827"/>
                    <a:pt x="2179" y="33291"/>
                  </a:cubicBezTo>
                  <a:lnTo>
                    <a:pt x="2179"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39" name="Google Shape;126;p16">
              <a:extLst>
                <a:ext uri="{FF2B5EF4-FFF2-40B4-BE49-F238E27FC236}">
                  <a16:creationId xmlns:a16="http://schemas.microsoft.com/office/drawing/2014/main" id="{1D63D227-7D19-0D80-F1AF-EC03B3B74B66}"/>
                </a:ext>
              </a:extLst>
            </p:cNvPr>
            <p:cNvSpPr/>
            <p:nvPr/>
          </p:nvSpPr>
          <p:spPr>
            <a:xfrm>
              <a:off x="5855580" y="2317116"/>
              <a:ext cx="2305497" cy="785433"/>
            </a:xfrm>
            <a:custGeom>
              <a:avLst/>
              <a:gdLst/>
              <a:ahLst/>
              <a:cxnLst/>
              <a:rect l="l" t="t" r="r" b="b"/>
              <a:pathLst>
                <a:path w="49602" h="23563" extrusionOk="0">
                  <a:moveTo>
                    <a:pt x="1" y="0"/>
                  </a:moveTo>
                  <a:cubicBezTo>
                    <a:pt x="4620" y="1917"/>
                    <a:pt x="7871" y="6477"/>
                    <a:pt x="7871" y="11788"/>
                  </a:cubicBezTo>
                  <a:cubicBezTo>
                    <a:pt x="7871" y="17098"/>
                    <a:pt x="4620" y="21646"/>
                    <a:pt x="1" y="23563"/>
                  </a:cubicBezTo>
                  <a:lnTo>
                    <a:pt x="37827" y="23563"/>
                  </a:lnTo>
                  <a:cubicBezTo>
                    <a:pt x="44328" y="23563"/>
                    <a:pt x="49602" y="18288"/>
                    <a:pt x="49602" y="11788"/>
                  </a:cubicBezTo>
                  <a:cubicBezTo>
                    <a:pt x="49602" y="5275"/>
                    <a:pt x="44328" y="0"/>
                    <a:pt x="37827" y="0"/>
                  </a:cubicBezTo>
                  <a:close/>
                </a:path>
              </a:pathLst>
            </a:custGeom>
            <a:solidFill>
              <a:schemeClr val="accent1"/>
            </a:solidFill>
            <a:ln>
              <a:noFill/>
            </a:ln>
          </p:spPr>
          <p:txBody>
            <a:bodyPr spcFirstLastPara="1" wrap="square" lIns="144000" tIns="121900" rIns="360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2200" b="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6 months</a:t>
              </a:r>
            </a:p>
          </p:txBody>
        </p:sp>
      </p:grpSp>
      <p:grpSp>
        <p:nvGrpSpPr>
          <p:cNvPr id="145" name="Group 144">
            <a:extLst>
              <a:ext uri="{FF2B5EF4-FFF2-40B4-BE49-F238E27FC236}">
                <a16:creationId xmlns:a16="http://schemas.microsoft.com/office/drawing/2014/main" id="{60C61C7A-70F6-315E-E6A4-67F2DDD43F38}"/>
              </a:ext>
            </a:extLst>
          </p:cNvPr>
          <p:cNvGrpSpPr/>
          <p:nvPr/>
        </p:nvGrpSpPr>
        <p:grpSpPr>
          <a:xfrm>
            <a:off x="5611704" y="1144354"/>
            <a:ext cx="1743562" cy="1027975"/>
            <a:chOff x="5865195" y="1108142"/>
            <a:chExt cx="1743562" cy="1027975"/>
          </a:xfrm>
        </p:grpSpPr>
        <p:sp>
          <p:nvSpPr>
            <p:cNvPr id="43" name="Google Shape;130;p16">
              <a:extLst>
                <a:ext uri="{FF2B5EF4-FFF2-40B4-BE49-F238E27FC236}">
                  <a16:creationId xmlns:a16="http://schemas.microsoft.com/office/drawing/2014/main" id="{D10EE726-C2B2-52A5-61F7-8AFFB9FD8C49}"/>
                </a:ext>
              </a:extLst>
            </p:cNvPr>
            <p:cNvSpPr txBox="1"/>
            <p:nvPr/>
          </p:nvSpPr>
          <p:spPr>
            <a:xfrm>
              <a:off x="5865195" y="1558964"/>
              <a:ext cx="1741199" cy="577153"/>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a:ln>
                  <a:noFill/>
                </a:ln>
                <a:solidFill>
                  <a:prstClr val="white"/>
                </a:solidFill>
                <a:effectLst/>
                <a:uLnTx/>
                <a:uFillTx/>
                <a:latin typeface="Arial" panose="020B0604020202020204" pitchFamily="34" charset="0"/>
                <a:ea typeface="Roboto"/>
                <a:cs typeface="Arial" panose="020B0604020202020204" pitchFamily="34" charset="0"/>
                <a:sym typeface="Roboto"/>
              </a:endParaRPr>
            </a:p>
          </p:txBody>
        </p:sp>
        <p:sp>
          <p:nvSpPr>
            <p:cNvPr id="44" name="Google Shape;131;p16">
              <a:extLst>
                <a:ext uri="{FF2B5EF4-FFF2-40B4-BE49-F238E27FC236}">
                  <a16:creationId xmlns:a16="http://schemas.microsoft.com/office/drawing/2014/main" id="{D274927D-BB86-77FD-585E-F0D3B2207B45}"/>
                </a:ext>
              </a:extLst>
            </p:cNvPr>
            <p:cNvSpPr txBox="1"/>
            <p:nvPr/>
          </p:nvSpPr>
          <p:spPr>
            <a:xfrm>
              <a:off x="5867558" y="1108142"/>
              <a:ext cx="1741199" cy="620404"/>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 sz="2267" b="0" i="0" u="none" strike="noStrike" kern="0" cap="none" spc="0" normalizeH="0" baseline="0" noProof="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rPr>
                <a:t>Prohibited AI systems</a:t>
              </a:r>
              <a:endParaRPr kumimoji="0" sz="2267" b="0" i="0" u="none" strike="noStrike" kern="0" cap="none" spc="0" normalizeH="0" baseline="0" noProof="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endParaRPr>
            </a:p>
          </p:txBody>
        </p:sp>
      </p:grpSp>
      <p:grpSp>
        <p:nvGrpSpPr>
          <p:cNvPr id="146" name="Group 145">
            <a:extLst>
              <a:ext uri="{FF2B5EF4-FFF2-40B4-BE49-F238E27FC236}">
                <a16:creationId xmlns:a16="http://schemas.microsoft.com/office/drawing/2014/main" id="{50581647-0779-8EBE-C69C-91A937283132}"/>
              </a:ext>
            </a:extLst>
          </p:cNvPr>
          <p:cNvGrpSpPr/>
          <p:nvPr/>
        </p:nvGrpSpPr>
        <p:grpSpPr>
          <a:xfrm>
            <a:off x="3246691" y="1026723"/>
            <a:ext cx="2305497" cy="2119587"/>
            <a:chOff x="3500182" y="990511"/>
            <a:chExt cx="2305497" cy="2119587"/>
          </a:xfrm>
        </p:grpSpPr>
        <p:sp>
          <p:nvSpPr>
            <p:cNvPr id="99" name="Google Shape;125;p16">
              <a:extLst>
                <a:ext uri="{FF2B5EF4-FFF2-40B4-BE49-F238E27FC236}">
                  <a16:creationId xmlns:a16="http://schemas.microsoft.com/office/drawing/2014/main" id="{954BF69A-BAA0-0483-56D6-75280F4DE878}"/>
                </a:ext>
              </a:extLst>
            </p:cNvPr>
            <p:cNvSpPr/>
            <p:nvPr/>
          </p:nvSpPr>
          <p:spPr>
            <a:xfrm>
              <a:off x="5250996" y="990511"/>
              <a:ext cx="306800" cy="1441216"/>
            </a:xfrm>
            <a:custGeom>
              <a:avLst/>
              <a:gdLst/>
              <a:ahLst/>
              <a:cxnLst/>
              <a:rect l="l" t="t" r="r" b="b"/>
              <a:pathLst>
                <a:path w="9204" h="44792" extrusionOk="0">
                  <a:moveTo>
                    <a:pt x="0" y="1"/>
                  </a:moveTo>
                  <a:lnTo>
                    <a:pt x="0" y="33291"/>
                  </a:lnTo>
                  <a:cubicBezTo>
                    <a:pt x="0" y="38244"/>
                    <a:pt x="2810" y="42649"/>
                    <a:pt x="7097" y="44792"/>
                  </a:cubicBezTo>
                  <a:lnTo>
                    <a:pt x="9204" y="44792"/>
                  </a:lnTo>
                  <a:lnTo>
                    <a:pt x="9204" y="43328"/>
                  </a:lnTo>
                  <a:cubicBezTo>
                    <a:pt x="5025" y="41804"/>
                    <a:pt x="2179" y="37827"/>
                    <a:pt x="2179" y="33291"/>
                  </a:cubicBezTo>
                  <a:lnTo>
                    <a:pt x="2179" y="1"/>
                  </a:lnTo>
                  <a:close/>
                </a:path>
              </a:pathLst>
            </a:custGeom>
            <a:solidFill>
              <a:schemeClr val="tx2"/>
            </a:solidFill>
            <a:ln>
              <a:noFill/>
            </a:ln>
          </p:spPr>
          <p:txBody>
            <a:bodyPr spcFirstLastPara="1" wrap="square" lIns="144000" tIns="121900" rIns="121900" bIns="121900" anchor="ctr" anchorCtr="0">
              <a:noAutofit/>
            </a:bodyPr>
            <a:lstStyle/>
            <a:p>
              <a:pPr algn="ctr" defTabSz="1219170">
                <a:buClr>
                  <a:srgbClr val="000000"/>
                </a:buClr>
              </a:pPr>
              <a:endParaRPr sz="2200" kern="0">
                <a:solidFill>
                  <a:prstClr val="white"/>
                </a:solidFill>
                <a:latin typeface="Arial" panose="020B0604020202020204" pitchFamily="34" charset="0"/>
                <a:cs typeface="Arial" panose="020B0604020202020204" pitchFamily="34" charset="0"/>
                <a:sym typeface="Arial"/>
              </a:endParaRPr>
            </a:p>
          </p:txBody>
        </p:sp>
        <p:sp>
          <p:nvSpPr>
            <p:cNvPr id="108" name="Google Shape;126;p16">
              <a:extLst>
                <a:ext uri="{FF2B5EF4-FFF2-40B4-BE49-F238E27FC236}">
                  <a16:creationId xmlns:a16="http://schemas.microsoft.com/office/drawing/2014/main" id="{AA16222B-AA18-0C94-2D1A-1539C36BF495}"/>
                </a:ext>
              </a:extLst>
            </p:cNvPr>
            <p:cNvSpPr/>
            <p:nvPr/>
          </p:nvSpPr>
          <p:spPr>
            <a:xfrm>
              <a:off x="3500182" y="2324665"/>
              <a:ext cx="2305497" cy="785433"/>
            </a:xfrm>
            <a:custGeom>
              <a:avLst/>
              <a:gdLst/>
              <a:ahLst/>
              <a:cxnLst/>
              <a:rect l="l" t="t" r="r" b="b"/>
              <a:pathLst>
                <a:path w="49602" h="23563" extrusionOk="0">
                  <a:moveTo>
                    <a:pt x="1" y="0"/>
                  </a:moveTo>
                  <a:cubicBezTo>
                    <a:pt x="4620" y="1917"/>
                    <a:pt x="7871" y="6477"/>
                    <a:pt x="7871" y="11788"/>
                  </a:cubicBezTo>
                  <a:cubicBezTo>
                    <a:pt x="7871" y="17098"/>
                    <a:pt x="4620" y="21646"/>
                    <a:pt x="1" y="23563"/>
                  </a:cubicBezTo>
                  <a:lnTo>
                    <a:pt x="37827" y="23563"/>
                  </a:lnTo>
                  <a:cubicBezTo>
                    <a:pt x="44328" y="23563"/>
                    <a:pt x="49602" y="18288"/>
                    <a:pt x="49602" y="11788"/>
                  </a:cubicBezTo>
                  <a:cubicBezTo>
                    <a:pt x="49602" y="5275"/>
                    <a:pt x="44328" y="0"/>
                    <a:pt x="37827" y="0"/>
                  </a:cubicBezTo>
                  <a:close/>
                </a:path>
              </a:pathLst>
            </a:custGeom>
            <a:solidFill>
              <a:schemeClr val="tx2"/>
            </a:solidFill>
            <a:ln>
              <a:noFill/>
            </a:ln>
          </p:spPr>
          <p:txBody>
            <a:bodyPr spcFirstLastPara="1" wrap="square" lIns="144000" tIns="121900" rIns="121900" bIns="121900" anchor="ctr" anchorCtr="0">
              <a:noAutofit/>
            </a:bodyPr>
            <a:lstStyle/>
            <a:p>
              <a:pPr algn="ctr" defTabSz="1219170">
                <a:buClr>
                  <a:srgbClr val="000000"/>
                </a:buClr>
              </a:pPr>
              <a:r>
                <a:rPr lang="en" sz="2200" kern="0" dirty="0">
                  <a:solidFill>
                    <a:prstClr val="white"/>
                  </a:solidFill>
                  <a:latin typeface="Arial" panose="020B0604020202020204" pitchFamily="34" charset="0"/>
                  <a:cs typeface="Arial" panose="020B0604020202020204" pitchFamily="34" charset="0"/>
                  <a:sym typeface="Fira Sans Extra Condensed"/>
                </a:rPr>
                <a:t>April / May </a:t>
              </a:r>
            </a:p>
            <a:p>
              <a:pPr algn="ctr" defTabSz="1219170">
                <a:buClr>
                  <a:srgbClr val="000000"/>
                </a:buClr>
              </a:pPr>
              <a:r>
                <a:rPr lang="en" sz="2200" kern="0" dirty="0">
                  <a:solidFill>
                    <a:prstClr val="white"/>
                  </a:solidFill>
                  <a:latin typeface="Arial" panose="020B0604020202020204" pitchFamily="34" charset="0"/>
                  <a:cs typeface="Arial" panose="020B0604020202020204" pitchFamily="34" charset="0"/>
                  <a:sym typeface="Fira Sans Extra Condensed"/>
                </a:rPr>
                <a:t>2024</a:t>
              </a:r>
              <a:endParaRPr sz="2200" kern="0" dirty="0">
                <a:solidFill>
                  <a:prstClr val="white"/>
                </a:solidFill>
                <a:latin typeface="Arial" panose="020B0604020202020204" pitchFamily="34" charset="0"/>
                <a:cs typeface="Arial" panose="020B0604020202020204" pitchFamily="34" charset="0"/>
                <a:sym typeface="Fira Sans Extra Condensed"/>
              </a:endParaRPr>
            </a:p>
          </p:txBody>
        </p:sp>
      </p:grpSp>
      <p:grpSp>
        <p:nvGrpSpPr>
          <p:cNvPr id="147" name="Group 146">
            <a:extLst>
              <a:ext uri="{FF2B5EF4-FFF2-40B4-BE49-F238E27FC236}">
                <a16:creationId xmlns:a16="http://schemas.microsoft.com/office/drawing/2014/main" id="{1EDCACA4-B3F1-F59D-4724-B0FEFA85DDE8}"/>
              </a:ext>
            </a:extLst>
          </p:cNvPr>
          <p:cNvGrpSpPr/>
          <p:nvPr/>
        </p:nvGrpSpPr>
        <p:grpSpPr>
          <a:xfrm>
            <a:off x="3256306" y="1151903"/>
            <a:ext cx="1743562" cy="1027975"/>
            <a:chOff x="3509797" y="1115691"/>
            <a:chExt cx="1743562" cy="1027975"/>
          </a:xfrm>
        </p:grpSpPr>
        <p:sp>
          <p:nvSpPr>
            <p:cNvPr id="110" name="Google Shape;130;p16">
              <a:extLst>
                <a:ext uri="{FF2B5EF4-FFF2-40B4-BE49-F238E27FC236}">
                  <a16:creationId xmlns:a16="http://schemas.microsoft.com/office/drawing/2014/main" id="{10A5C6B5-AC30-0126-FD83-32959ED9AFB8}"/>
                </a:ext>
              </a:extLst>
            </p:cNvPr>
            <p:cNvSpPr txBox="1"/>
            <p:nvPr/>
          </p:nvSpPr>
          <p:spPr>
            <a:xfrm>
              <a:off x="3509797" y="1566513"/>
              <a:ext cx="1741199" cy="577153"/>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a:ln>
                  <a:noFill/>
                </a:ln>
                <a:solidFill>
                  <a:prstClr val="white"/>
                </a:solidFill>
                <a:effectLst/>
                <a:uLnTx/>
                <a:uFillTx/>
                <a:latin typeface="Arial" panose="020B0604020202020204" pitchFamily="34" charset="0"/>
                <a:ea typeface="Roboto"/>
                <a:cs typeface="Arial" panose="020B0604020202020204" pitchFamily="34" charset="0"/>
                <a:sym typeface="Roboto"/>
              </a:endParaRPr>
            </a:p>
          </p:txBody>
        </p:sp>
        <p:sp>
          <p:nvSpPr>
            <p:cNvPr id="111" name="Google Shape;131;p16">
              <a:extLst>
                <a:ext uri="{FF2B5EF4-FFF2-40B4-BE49-F238E27FC236}">
                  <a16:creationId xmlns:a16="http://schemas.microsoft.com/office/drawing/2014/main" id="{6A01782D-13E5-68C2-73F8-9611F4DE8A37}"/>
                </a:ext>
              </a:extLst>
            </p:cNvPr>
            <p:cNvSpPr txBox="1"/>
            <p:nvPr/>
          </p:nvSpPr>
          <p:spPr>
            <a:xfrm>
              <a:off x="3757016" y="1115691"/>
              <a:ext cx="1496343" cy="620404"/>
            </a:xfrm>
            <a:prstGeom prst="rect">
              <a:avLst/>
            </a:prstGeom>
            <a:noFill/>
            <a:ln>
              <a:noFill/>
            </a:ln>
          </p:spPr>
          <p:txBody>
            <a:bodyPr spcFirstLastPara="1" wrap="square" lIns="121900" tIns="121900" rIns="121900" bIns="121900" anchor="ctr" anchorCtr="0">
              <a:noAutofit/>
            </a:bodyPr>
            <a:lstStyle/>
            <a:p>
              <a:pPr algn="r" defTabSz="1219170">
                <a:buClr>
                  <a:srgbClr val="000000"/>
                </a:buClr>
                <a:defRPr/>
              </a:pPr>
              <a:r>
                <a:rPr lang="en-GB" sz="2270" kern="0">
                  <a:solidFill>
                    <a:prstClr val="white"/>
                  </a:solidFill>
                  <a:latin typeface="Arial" panose="020B0604020202020204" pitchFamily="34" charset="0"/>
                  <a:cs typeface="Arial" panose="020B0604020202020204" pitchFamily="34" charset="0"/>
                  <a:sym typeface="Roboto"/>
                </a:rPr>
                <a:t>Entry</a:t>
              </a:r>
              <a:r>
                <a:rPr kumimoji="0" lang="en-GB" sz="2270" b="0" i="0" u="none" strike="noStrike" kern="0" cap="none" spc="0" normalizeH="0" baseline="0" noProof="0">
                  <a:ln>
                    <a:noFill/>
                  </a:ln>
                  <a:solidFill>
                    <a:prstClr val="white"/>
                  </a:solidFill>
                  <a:effectLst/>
                  <a:uLnTx/>
                  <a:uFillTx/>
                  <a:latin typeface="Arial" panose="020B0604020202020204" pitchFamily="34" charset="0"/>
                  <a:ea typeface="Roboto"/>
                  <a:cs typeface="Arial" panose="020B0604020202020204" pitchFamily="34" charset="0"/>
                  <a:sym typeface="Roboto"/>
                </a:rPr>
                <a:t> into the OJ</a:t>
              </a:r>
            </a:p>
          </p:txBody>
        </p:sp>
      </p:grpSp>
      <p:grpSp>
        <p:nvGrpSpPr>
          <p:cNvPr id="172" name="Group 171">
            <a:extLst>
              <a:ext uri="{FF2B5EF4-FFF2-40B4-BE49-F238E27FC236}">
                <a16:creationId xmlns:a16="http://schemas.microsoft.com/office/drawing/2014/main" id="{37714ECB-9535-7D26-93BF-BF2399D69A57}"/>
              </a:ext>
            </a:extLst>
          </p:cNvPr>
          <p:cNvGrpSpPr/>
          <p:nvPr/>
        </p:nvGrpSpPr>
        <p:grpSpPr>
          <a:xfrm>
            <a:off x="7940531" y="991190"/>
            <a:ext cx="2305497" cy="2119115"/>
            <a:chOff x="7940531" y="991190"/>
            <a:chExt cx="2305497" cy="2119115"/>
          </a:xfrm>
        </p:grpSpPr>
        <p:sp>
          <p:nvSpPr>
            <p:cNvPr id="113" name="Google Shape;125;p16">
              <a:extLst>
                <a:ext uri="{FF2B5EF4-FFF2-40B4-BE49-F238E27FC236}">
                  <a16:creationId xmlns:a16="http://schemas.microsoft.com/office/drawing/2014/main" id="{AA1432CF-6C6A-EF2C-63C3-C92CD81B65A3}"/>
                </a:ext>
              </a:extLst>
            </p:cNvPr>
            <p:cNvSpPr/>
            <p:nvPr/>
          </p:nvSpPr>
          <p:spPr>
            <a:xfrm>
              <a:off x="9691345" y="991190"/>
              <a:ext cx="306800" cy="1441216"/>
            </a:xfrm>
            <a:custGeom>
              <a:avLst/>
              <a:gdLst/>
              <a:ahLst/>
              <a:cxnLst/>
              <a:rect l="l" t="t" r="r" b="b"/>
              <a:pathLst>
                <a:path w="9204" h="44792" extrusionOk="0">
                  <a:moveTo>
                    <a:pt x="0" y="1"/>
                  </a:moveTo>
                  <a:lnTo>
                    <a:pt x="0" y="33291"/>
                  </a:lnTo>
                  <a:cubicBezTo>
                    <a:pt x="0" y="38244"/>
                    <a:pt x="2810" y="42649"/>
                    <a:pt x="7097" y="44792"/>
                  </a:cubicBezTo>
                  <a:lnTo>
                    <a:pt x="9204" y="44792"/>
                  </a:lnTo>
                  <a:lnTo>
                    <a:pt x="9204" y="43328"/>
                  </a:lnTo>
                  <a:cubicBezTo>
                    <a:pt x="5025" y="41804"/>
                    <a:pt x="2179" y="37827"/>
                    <a:pt x="2179" y="33291"/>
                  </a:cubicBezTo>
                  <a:lnTo>
                    <a:pt x="2179" y="1"/>
                  </a:ln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14" name="Google Shape;126;p16">
              <a:extLst>
                <a:ext uri="{FF2B5EF4-FFF2-40B4-BE49-F238E27FC236}">
                  <a16:creationId xmlns:a16="http://schemas.microsoft.com/office/drawing/2014/main" id="{BAE0C811-26E7-AF38-842F-310E6D0D886F}"/>
                </a:ext>
              </a:extLst>
            </p:cNvPr>
            <p:cNvSpPr/>
            <p:nvPr/>
          </p:nvSpPr>
          <p:spPr>
            <a:xfrm>
              <a:off x="7940531" y="2324872"/>
              <a:ext cx="2305497" cy="785433"/>
            </a:xfrm>
            <a:custGeom>
              <a:avLst/>
              <a:gdLst/>
              <a:ahLst/>
              <a:cxnLst/>
              <a:rect l="l" t="t" r="r" b="b"/>
              <a:pathLst>
                <a:path w="49602" h="23563" extrusionOk="0">
                  <a:moveTo>
                    <a:pt x="1" y="0"/>
                  </a:moveTo>
                  <a:cubicBezTo>
                    <a:pt x="4620" y="1917"/>
                    <a:pt x="7871" y="6477"/>
                    <a:pt x="7871" y="11788"/>
                  </a:cubicBezTo>
                  <a:cubicBezTo>
                    <a:pt x="7871" y="17098"/>
                    <a:pt x="4620" y="21646"/>
                    <a:pt x="1" y="23563"/>
                  </a:cubicBezTo>
                  <a:lnTo>
                    <a:pt x="37827" y="23563"/>
                  </a:lnTo>
                  <a:cubicBezTo>
                    <a:pt x="44328" y="23563"/>
                    <a:pt x="49602" y="18288"/>
                    <a:pt x="49602" y="11788"/>
                  </a:cubicBezTo>
                  <a:cubicBezTo>
                    <a:pt x="49602" y="5275"/>
                    <a:pt x="44328" y="0"/>
                    <a:pt x="37827" y="0"/>
                  </a:cubicBezTo>
                  <a:close/>
                </a:path>
              </a:pathLst>
            </a:custGeom>
            <a:solidFill>
              <a:schemeClr val="accent6"/>
            </a:solidFill>
            <a:ln>
              <a:noFill/>
            </a:ln>
          </p:spPr>
          <p:txBody>
            <a:bodyPr spcFirstLastPara="1" wrap="square" lIns="144000" tIns="121900" rIns="360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2200" b="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9 months</a:t>
              </a:r>
            </a:p>
          </p:txBody>
        </p:sp>
      </p:grpSp>
      <p:grpSp>
        <p:nvGrpSpPr>
          <p:cNvPr id="149" name="Group 148">
            <a:extLst>
              <a:ext uri="{FF2B5EF4-FFF2-40B4-BE49-F238E27FC236}">
                <a16:creationId xmlns:a16="http://schemas.microsoft.com/office/drawing/2014/main" id="{BE742EAD-91EA-D119-7F93-517DEEE76847}"/>
              </a:ext>
            </a:extLst>
          </p:cNvPr>
          <p:cNvGrpSpPr/>
          <p:nvPr/>
        </p:nvGrpSpPr>
        <p:grpSpPr>
          <a:xfrm>
            <a:off x="7950146" y="1115898"/>
            <a:ext cx="1743562" cy="1027975"/>
            <a:chOff x="8203637" y="1079686"/>
            <a:chExt cx="1743562" cy="1027975"/>
          </a:xfrm>
        </p:grpSpPr>
        <p:sp>
          <p:nvSpPr>
            <p:cNvPr id="116" name="Google Shape;130;p16">
              <a:extLst>
                <a:ext uri="{FF2B5EF4-FFF2-40B4-BE49-F238E27FC236}">
                  <a16:creationId xmlns:a16="http://schemas.microsoft.com/office/drawing/2014/main" id="{87D31D0A-7995-1C76-4F3A-6643C6EDC6C1}"/>
                </a:ext>
              </a:extLst>
            </p:cNvPr>
            <p:cNvSpPr txBox="1"/>
            <p:nvPr/>
          </p:nvSpPr>
          <p:spPr>
            <a:xfrm>
              <a:off x="8203637" y="1530508"/>
              <a:ext cx="1741199" cy="577153"/>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a:ln>
                  <a:noFill/>
                </a:ln>
                <a:solidFill>
                  <a:prstClr val="white"/>
                </a:solidFill>
                <a:effectLst/>
                <a:uLnTx/>
                <a:uFillTx/>
                <a:latin typeface="Arial" panose="020B0604020202020204" pitchFamily="34" charset="0"/>
                <a:ea typeface="Roboto"/>
                <a:cs typeface="Arial" panose="020B0604020202020204" pitchFamily="34" charset="0"/>
                <a:sym typeface="Roboto"/>
              </a:endParaRPr>
            </a:p>
          </p:txBody>
        </p:sp>
        <p:sp>
          <p:nvSpPr>
            <p:cNvPr id="117" name="Google Shape;131;p16">
              <a:extLst>
                <a:ext uri="{FF2B5EF4-FFF2-40B4-BE49-F238E27FC236}">
                  <a16:creationId xmlns:a16="http://schemas.microsoft.com/office/drawing/2014/main" id="{F6363BC2-C593-065D-D4C9-674DB8272372}"/>
                </a:ext>
              </a:extLst>
            </p:cNvPr>
            <p:cNvSpPr txBox="1"/>
            <p:nvPr/>
          </p:nvSpPr>
          <p:spPr>
            <a:xfrm>
              <a:off x="8206000" y="1079686"/>
              <a:ext cx="1741199" cy="620404"/>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 sz="2267" b="0" i="0" u="none" strike="noStrike" kern="0" cap="none" spc="0" normalizeH="0" baseline="0" noProof="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rPr>
                <a:t> Codes of Practice</a:t>
              </a:r>
              <a:endParaRPr kumimoji="0" sz="2267" b="0" i="0" u="none" strike="noStrike" kern="0" cap="none" spc="0" normalizeH="0" baseline="0" noProof="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endParaRPr>
            </a:p>
          </p:txBody>
        </p:sp>
      </p:grpSp>
      <p:grpSp>
        <p:nvGrpSpPr>
          <p:cNvPr id="161" name="Group 160">
            <a:extLst>
              <a:ext uri="{FF2B5EF4-FFF2-40B4-BE49-F238E27FC236}">
                <a16:creationId xmlns:a16="http://schemas.microsoft.com/office/drawing/2014/main" id="{9D5F4D32-5D02-3726-337E-E9B58A19DA69}"/>
              </a:ext>
            </a:extLst>
          </p:cNvPr>
          <p:cNvGrpSpPr/>
          <p:nvPr/>
        </p:nvGrpSpPr>
        <p:grpSpPr>
          <a:xfrm>
            <a:off x="3494918" y="3786756"/>
            <a:ext cx="2741567" cy="2154527"/>
            <a:chOff x="3494918" y="3786756"/>
            <a:chExt cx="2741567" cy="2154527"/>
          </a:xfrm>
        </p:grpSpPr>
        <p:grpSp>
          <p:nvGrpSpPr>
            <p:cNvPr id="157" name="Group 156">
              <a:extLst>
                <a:ext uri="{FF2B5EF4-FFF2-40B4-BE49-F238E27FC236}">
                  <a16:creationId xmlns:a16="http://schemas.microsoft.com/office/drawing/2014/main" id="{995290F6-58EE-B509-DB23-EF46389DA572}"/>
                </a:ext>
              </a:extLst>
            </p:cNvPr>
            <p:cNvGrpSpPr/>
            <p:nvPr/>
          </p:nvGrpSpPr>
          <p:grpSpPr>
            <a:xfrm>
              <a:off x="3930987" y="3786756"/>
              <a:ext cx="2305498" cy="2154527"/>
              <a:chOff x="3930987" y="3786756"/>
              <a:chExt cx="2305498" cy="2154527"/>
            </a:xfrm>
          </p:grpSpPr>
          <p:sp>
            <p:nvSpPr>
              <p:cNvPr id="127" name="Google Shape;140;p16">
                <a:extLst>
                  <a:ext uri="{FF2B5EF4-FFF2-40B4-BE49-F238E27FC236}">
                    <a16:creationId xmlns:a16="http://schemas.microsoft.com/office/drawing/2014/main" id="{B7FAD2D4-E34E-4D83-BCFE-E86C5DFC8B8D}"/>
                  </a:ext>
                </a:extLst>
              </p:cNvPr>
              <p:cNvSpPr/>
              <p:nvPr/>
            </p:nvSpPr>
            <p:spPr>
              <a:xfrm>
                <a:off x="5594112" y="4501283"/>
                <a:ext cx="306800" cy="1440000"/>
              </a:xfrm>
              <a:custGeom>
                <a:avLst/>
                <a:gdLst/>
                <a:ahLst/>
                <a:cxnLst/>
                <a:rect l="l" t="t" r="r" b="b"/>
                <a:pathLst>
                  <a:path w="9204" h="44804" extrusionOk="0">
                    <a:moveTo>
                      <a:pt x="7097" y="0"/>
                    </a:moveTo>
                    <a:cubicBezTo>
                      <a:pt x="2810" y="2143"/>
                      <a:pt x="0" y="6549"/>
                      <a:pt x="0" y="11514"/>
                    </a:cubicBezTo>
                    <a:lnTo>
                      <a:pt x="0" y="44803"/>
                    </a:lnTo>
                    <a:lnTo>
                      <a:pt x="2179" y="44803"/>
                    </a:lnTo>
                    <a:lnTo>
                      <a:pt x="2179" y="11514"/>
                    </a:lnTo>
                    <a:cubicBezTo>
                      <a:pt x="2179" y="6965"/>
                      <a:pt x="5025" y="2989"/>
                      <a:pt x="9204" y="1477"/>
                    </a:cubicBezTo>
                    <a:lnTo>
                      <a:pt x="9204"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28" name="Google Shape;141;p16">
                <a:extLst>
                  <a:ext uri="{FF2B5EF4-FFF2-40B4-BE49-F238E27FC236}">
                    <a16:creationId xmlns:a16="http://schemas.microsoft.com/office/drawing/2014/main" id="{53BA142C-969F-1522-618E-ED4ED75CDCF1}"/>
                  </a:ext>
                </a:extLst>
              </p:cNvPr>
              <p:cNvSpPr/>
              <p:nvPr/>
            </p:nvSpPr>
            <p:spPr>
              <a:xfrm>
                <a:off x="3930987" y="3786756"/>
                <a:ext cx="2305498" cy="785433"/>
              </a:xfrm>
              <a:custGeom>
                <a:avLst/>
                <a:gdLst/>
                <a:ahLst/>
                <a:cxnLst/>
                <a:rect l="l" t="t" r="r" b="b"/>
                <a:pathLst>
                  <a:path w="49603" h="23563" extrusionOk="0">
                    <a:moveTo>
                      <a:pt x="1" y="0"/>
                    </a:moveTo>
                    <a:cubicBezTo>
                      <a:pt x="4621" y="1917"/>
                      <a:pt x="7871" y="6477"/>
                      <a:pt x="7871" y="11788"/>
                    </a:cubicBezTo>
                    <a:cubicBezTo>
                      <a:pt x="7871" y="17098"/>
                      <a:pt x="4621" y="21646"/>
                      <a:pt x="1" y="23563"/>
                    </a:cubicBezTo>
                    <a:lnTo>
                      <a:pt x="37827" y="23563"/>
                    </a:lnTo>
                    <a:cubicBezTo>
                      <a:pt x="44328" y="23563"/>
                      <a:pt x="49602" y="18288"/>
                      <a:pt x="49602" y="11788"/>
                    </a:cubicBezTo>
                    <a:cubicBezTo>
                      <a:pt x="49602" y="5275"/>
                      <a:pt x="44328" y="0"/>
                      <a:pt x="37827" y="0"/>
                    </a:cubicBezTo>
                    <a:close/>
                  </a:path>
                </a:pathLst>
              </a:custGeom>
              <a:solidFill>
                <a:schemeClr val="accent1"/>
              </a:solidFill>
              <a:ln>
                <a:noFill/>
              </a:ln>
            </p:spPr>
            <p:txBody>
              <a:bodyPr spcFirstLastPara="1" wrap="square" lIns="1440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2200" b="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18 </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2200" b="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months</a:t>
                </a:r>
              </a:p>
            </p:txBody>
          </p:sp>
        </p:grpSp>
        <p:sp>
          <p:nvSpPr>
            <p:cNvPr id="129" name="Google Shape;144;p16">
              <a:extLst>
                <a:ext uri="{FF2B5EF4-FFF2-40B4-BE49-F238E27FC236}">
                  <a16:creationId xmlns:a16="http://schemas.microsoft.com/office/drawing/2014/main" id="{A8B28BAA-8BB0-1942-18F9-BAB67DFBF92D}"/>
                </a:ext>
              </a:extLst>
            </p:cNvPr>
            <p:cNvSpPr txBox="1"/>
            <p:nvPr/>
          </p:nvSpPr>
          <p:spPr>
            <a:xfrm>
              <a:off x="3494918" y="5115794"/>
              <a:ext cx="2159999" cy="674042"/>
            </a:xfrm>
            <a:prstGeom prst="rect">
              <a:avLst/>
            </a:prstGeom>
            <a:noFill/>
            <a:ln>
              <a:noFill/>
            </a:ln>
          </p:spPr>
          <p:txBody>
            <a:bodyPr spcFirstLastPara="1" wrap="square" lIns="121900" tIns="121900" rIns="121900" bIns="121900" anchor="t"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endParaRPr kumimoji="0" lang="en-GB" sz="1200" b="0" i="0" u="none" strike="noStrike" kern="0" cap="none" spc="0" normalizeH="0" baseline="0" noProof="0">
                <a:ln>
                  <a:noFill/>
                </a:ln>
                <a:solidFill>
                  <a:prstClr val="white"/>
                </a:solidFill>
                <a:effectLst/>
                <a:uLnTx/>
                <a:uFillTx/>
                <a:latin typeface="Arial" panose="020B0604020202020204" pitchFamily="34" charset="0"/>
                <a:ea typeface="Roboto"/>
                <a:cs typeface="Arial" panose="020B0604020202020204" pitchFamily="34" charset="0"/>
                <a:sym typeface="Roboto"/>
              </a:endParaRPr>
            </a:p>
          </p:txBody>
        </p:sp>
        <p:sp>
          <p:nvSpPr>
            <p:cNvPr id="130" name="Google Shape;145;p16">
              <a:extLst>
                <a:ext uri="{FF2B5EF4-FFF2-40B4-BE49-F238E27FC236}">
                  <a16:creationId xmlns:a16="http://schemas.microsoft.com/office/drawing/2014/main" id="{E97B8392-C83D-EDF2-B50E-A4098B71EA1B}"/>
                </a:ext>
              </a:extLst>
            </p:cNvPr>
            <p:cNvSpPr txBox="1"/>
            <p:nvPr/>
          </p:nvSpPr>
          <p:spPr>
            <a:xfrm>
              <a:off x="3681589" y="4676949"/>
              <a:ext cx="1868400" cy="572800"/>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2400" b="0" i="0" u="none" strike="noStrike" kern="0" cap="none" spc="0" normalizeH="0" baseline="0" noProof="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rPr>
                <a:t>Guidance </a:t>
              </a:r>
            </a:p>
          </p:txBody>
        </p:sp>
        <p:grpSp>
          <p:nvGrpSpPr>
            <p:cNvPr id="131" name="Group 130">
              <a:extLst>
                <a:ext uri="{FF2B5EF4-FFF2-40B4-BE49-F238E27FC236}">
                  <a16:creationId xmlns:a16="http://schemas.microsoft.com/office/drawing/2014/main" id="{12F38E91-DF75-8714-3F5A-3DC97F1439F9}"/>
                </a:ext>
              </a:extLst>
            </p:cNvPr>
            <p:cNvGrpSpPr/>
            <p:nvPr/>
          </p:nvGrpSpPr>
          <p:grpSpPr>
            <a:xfrm>
              <a:off x="5781740" y="5451351"/>
              <a:ext cx="371957" cy="382200"/>
              <a:chOff x="5898824" y="2502370"/>
              <a:chExt cx="371957" cy="382200"/>
            </a:xfrm>
          </p:grpSpPr>
          <p:sp>
            <p:nvSpPr>
              <p:cNvPr id="132" name="Google Shape;127;p16">
                <a:extLst>
                  <a:ext uri="{FF2B5EF4-FFF2-40B4-BE49-F238E27FC236}">
                    <a16:creationId xmlns:a16="http://schemas.microsoft.com/office/drawing/2014/main" id="{194656F2-13D8-E16A-B9CA-342F0C5ED2D9}"/>
                  </a:ext>
                </a:extLst>
              </p:cNvPr>
              <p:cNvSpPr/>
              <p:nvPr/>
            </p:nvSpPr>
            <p:spPr>
              <a:xfrm>
                <a:off x="5898824" y="2656337"/>
                <a:ext cx="84224" cy="228233"/>
              </a:xfrm>
              <a:custGeom>
                <a:avLst/>
                <a:gdLst/>
                <a:ahLst/>
                <a:cxnLst/>
                <a:rect l="l" t="t" r="r" b="b"/>
                <a:pathLst>
                  <a:path w="3573" h="6847" extrusionOk="0">
                    <a:moveTo>
                      <a:pt x="2977" y="739"/>
                    </a:moveTo>
                    <a:lnTo>
                      <a:pt x="2977" y="6252"/>
                    </a:lnTo>
                    <a:lnTo>
                      <a:pt x="596" y="6252"/>
                    </a:lnTo>
                    <a:lnTo>
                      <a:pt x="596" y="739"/>
                    </a:lnTo>
                    <a:close/>
                    <a:moveTo>
                      <a:pt x="1" y="1"/>
                    </a:moveTo>
                    <a:lnTo>
                      <a:pt x="1" y="6847"/>
                    </a:lnTo>
                    <a:lnTo>
                      <a:pt x="3572" y="6847"/>
                    </a:lnTo>
                    <a:lnTo>
                      <a:pt x="3572"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33" name="Google Shape;128;p16">
                <a:extLst>
                  <a:ext uri="{FF2B5EF4-FFF2-40B4-BE49-F238E27FC236}">
                    <a16:creationId xmlns:a16="http://schemas.microsoft.com/office/drawing/2014/main" id="{B2514827-2B94-8B00-D955-A507BE9EB85E}"/>
                  </a:ext>
                </a:extLst>
              </p:cNvPr>
              <p:cNvSpPr/>
              <p:nvPr/>
            </p:nvSpPr>
            <p:spPr>
              <a:xfrm>
                <a:off x="6021926" y="2576970"/>
                <a:ext cx="87595" cy="307600"/>
              </a:xfrm>
              <a:custGeom>
                <a:avLst/>
                <a:gdLst/>
                <a:ahLst/>
                <a:cxnLst/>
                <a:rect l="l" t="t" r="r" b="b"/>
                <a:pathLst>
                  <a:path w="3716" h="9228" extrusionOk="0">
                    <a:moveTo>
                      <a:pt x="3120" y="596"/>
                    </a:moveTo>
                    <a:lnTo>
                      <a:pt x="3120" y="8633"/>
                    </a:lnTo>
                    <a:lnTo>
                      <a:pt x="596" y="8633"/>
                    </a:lnTo>
                    <a:lnTo>
                      <a:pt x="596" y="596"/>
                    </a:lnTo>
                    <a:close/>
                    <a:moveTo>
                      <a:pt x="1" y="1"/>
                    </a:moveTo>
                    <a:lnTo>
                      <a:pt x="1" y="9228"/>
                    </a:lnTo>
                    <a:lnTo>
                      <a:pt x="3716" y="9228"/>
                    </a:lnTo>
                    <a:lnTo>
                      <a:pt x="3716"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34" name="Google Shape;129;p16">
                <a:extLst>
                  <a:ext uri="{FF2B5EF4-FFF2-40B4-BE49-F238E27FC236}">
                    <a16:creationId xmlns:a16="http://schemas.microsoft.com/office/drawing/2014/main" id="{0E909426-BE0F-C8A6-9688-5D321938F344}"/>
                  </a:ext>
                </a:extLst>
              </p:cNvPr>
              <p:cNvSpPr/>
              <p:nvPr/>
            </p:nvSpPr>
            <p:spPr>
              <a:xfrm>
                <a:off x="6135197" y="2502370"/>
                <a:ext cx="135584" cy="382200"/>
              </a:xfrm>
              <a:custGeom>
                <a:avLst/>
                <a:gdLst/>
                <a:ahLst/>
                <a:cxnLst/>
                <a:rect l="l" t="t" r="r" b="b"/>
                <a:pathLst>
                  <a:path w="3728" h="11466" extrusionOk="0">
                    <a:moveTo>
                      <a:pt x="3132" y="596"/>
                    </a:moveTo>
                    <a:lnTo>
                      <a:pt x="3132" y="10871"/>
                    </a:lnTo>
                    <a:lnTo>
                      <a:pt x="596" y="10871"/>
                    </a:lnTo>
                    <a:lnTo>
                      <a:pt x="596" y="596"/>
                    </a:lnTo>
                    <a:close/>
                    <a:moveTo>
                      <a:pt x="1" y="0"/>
                    </a:moveTo>
                    <a:lnTo>
                      <a:pt x="1" y="11466"/>
                    </a:lnTo>
                    <a:lnTo>
                      <a:pt x="3727" y="11466"/>
                    </a:lnTo>
                    <a:lnTo>
                      <a:pt x="3727"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grpSp>
      </p:grpSp>
      <p:grpSp>
        <p:nvGrpSpPr>
          <p:cNvPr id="163" name="Group 162">
            <a:extLst>
              <a:ext uri="{FF2B5EF4-FFF2-40B4-BE49-F238E27FC236}">
                <a16:creationId xmlns:a16="http://schemas.microsoft.com/office/drawing/2014/main" id="{E54911B0-BE93-C0E2-734D-F234345AE1ED}"/>
              </a:ext>
            </a:extLst>
          </p:cNvPr>
          <p:cNvGrpSpPr/>
          <p:nvPr/>
        </p:nvGrpSpPr>
        <p:grpSpPr>
          <a:xfrm>
            <a:off x="8459537" y="3786608"/>
            <a:ext cx="2522376" cy="2154527"/>
            <a:chOff x="8459537" y="3786608"/>
            <a:chExt cx="2522376" cy="2154527"/>
          </a:xfrm>
        </p:grpSpPr>
        <p:grpSp>
          <p:nvGrpSpPr>
            <p:cNvPr id="159" name="Group 158">
              <a:extLst>
                <a:ext uri="{FF2B5EF4-FFF2-40B4-BE49-F238E27FC236}">
                  <a16:creationId xmlns:a16="http://schemas.microsoft.com/office/drawing/2014/main" id="{EFFB36A3-E14F-610C-E018-DBC48BE3F38D}"/>
                </a:ext>
              </a:extLst>
            </p:cNvPr>
            <p:cNvGrpSpPr/>
            <p:nvPr/>
          </p:nvGrpSpPr>
          <p:grpSpPr>
            <a:xfrm>
              <a:off x="8676415" y="3786608"/>
              <a:ext cx="2305498" cy="2154527"/>
              <a:chOff x="8676415" y="3786608"/>
              <a:chExt cx="2305498" cy="2154527"/>
            </a:xfrm>
          </p:grpSpPr>
          <p:sp>
            <p:nvSpPr>
              <p:cNvPr id="123" name="Google Shape;140;p16">
                <a:extLst>
                  <a:ext uri="{FF2B5EF4-FFF2-40B4-BE49-F238E27FC236}">
                    <a16:creationId xmlns:a16="http://schemas.microsoft.com/office/drawing/2014/main" id="{BA515FA7-F0A2-2DA5-D3B2-A10DAC9CDBD6}"/>
                  </a:ext>
                </a:extLst>
              </p:cNvPr>
              <p:cNvSpPr/>
              <p:nvPr/>
            </p:nvSpPr>
            <p:spPr>
              <a:xfrm>
                <a:off x="10339540" y="4501135"/>
                <a:ext cx="306800" cy="1440000"/>
              </a:xfrm>
              <a:custGeom>
                <a:avLst/>
                <a:gdLst/>
                <a:ahLst/>
                <a:cxnLst/>
                <a:rect l="l" t="t" r="r" b="b"/>
                <a:pathLst>
                  <a:path w="9204" h="44804" extrusionOk="0">
                    <a:moveTo>
                      <a:pt x="7097" y="0"/>
                    </a:moveTo>
                    <a:cubicBezTo>
                      <a:pt x="2810" y="2143"/>
                      <a:pt x="0" y="6549"/>
                      <a:pt x="0" y="11514"/>
                    </a:cubicBezTo>
                    <a:lnTo>
                      <a:pt x="0" y="44803"/>
                    </a:lnTo>
                    <a:lnTo>
                      <a:pt x="2179" y="44803"/>
                    </a:lnTo>
                    <a:lnTo>
                      <a:pt x="2179" y="11514"/>
                    </a:lnTo>
                    <a:cubicBezTo>
                      <a:pt x="2179" y="6965"/>
                      <a:pt x="5025" y="2989"/>
                      <a:pt x="9204" y="1477"/>
                    </a:cubicBezTo>
                    <a:lnTo>
                      <a:pt x="9204" y="0"/>
                    </a:lnTo>
                    <a:close/>
                  </a:path>
                </a:pathLst>
              </a:custGeom>
              <a:solidFill>
                <a:schemeClr val="bg1">
                  <a:lumMod val="65000"/>
                </a:schemeClr>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24" name="Google Shape;141;p16">
                <a:extLst>
                  <a:ext uri="{FF2B5EF4-FFF2-40B4-BE49-F238E27FC236}">
                    <a16:creationId xmlns:a16="http://schemas.microsoft.com/office/drawing/2014/main" id="{EFC9918C-AB12-6B28-0B09-690E5F97A69B}"/>
                  </a:ext>
                </a:extLst>
              </p:cNvPr>
              <p:cNvSpPr/>
              <p:nvPr/>
            </p:nvSpPr>
            <p:spPr>
              <a:xfrm>
                <a:off x="8676415" y="3786608"/>
                <a:ext cx="2305498" cy="785433"/>
              </a:xfrm>
              <a:custGeom>
                <a:avLst/>
                <a:gdLst/>
                <a:ahLst/>
                <a:cxnLst/>
                <a:rect l="l" t="t" r="r" b="b"/>
                <a:pathLst>
                  <a:path w="49603" h="23563" extrusionOk="0">
                    <a:moveTo>
                      <a:pt x="1" y="0"/>
                    </a:moveTo>
                    <a:cubicBezTo>
                      <a:pt x="4621" y="1917"/>
                      <a:pt x="7871" y="6477"/>
                      <a:pt x="7871" y="11788"/>
                    </a:cubicBezTo>
                    <a:cubicBezTo>
                      <a:pt x="7871" y="17098"/>
                      <a:pt x="4621" y="21646"/>
                      <a:pt x="1" y="23563"/>
                    </a:cubicBezTo>
                    <a:lnTo>
                      <a:pt x="37827" y="23563"/>
                    </a:lnTo>
                    <a:cubicBezTo>
                      <a:pt x="44328" y="23563"/>
                      <a:pt x="49602" y="18288"/>
                      <a:pt x="49602" y="11788"/>
                    </a:cubicBezTo>
                    <a:cubicBezTo>
                      <a:pt x="49602" y="5275"/>
                      <a:pt x="44328" y="0"/>
                      <a:pt x="37827" y="0"/>
                    </a:cubicBezTo>
                    <a:close/>
                  </a:path>
                </a:pathLst>
              </a:custGeom>
              <a:solidFill>
                <a:schemeClr val="bg1">
                  <a:lumMod val="65000"/>
                </a:schemeClr>
              </a:solidFill>
              <a:ln>
                <a:noFill/>
              </a:ln>
            </p:spPr>
            <p:txBody>
              <a:bodyPr spcFirstLastPara="1" wrap="square" lIns="216000" tIns="121900" rIns="720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2200" b="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36 </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2200" b="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months</a:t>
                </a:r>
              </a:p>
            </p:txBody>
          </p:sp>
        </p:grpSp>
        <p:sp>
          <p:nvSpPr>
            <p:cNvPr id="126" name="Google Shape;145;p16">
              <a:extLst>
                <a:ext uri="{FF2B5EF4-FFF2-40B4-BE49-F238E27FC236}">
                  <a16:creationId xmlns:a16="http://schemas.microsoft.com/office/drawing/2014/main" id="{119AADAF-B7F6-9C6B-2FE9-36CCC8FFD5A1}"/>
                </a:ext>
              </a:extLst>
            </p:cNvPr>
            <p:cNvSpPr txBox="1"/>
            <p:nvPr/>
          </p:nvSpPr>
          <p:spPr>
            <a:xfrm>
              <a:off x="8459537" y="4687620"/>
              <a:ext cx="1868400" cy="572800"/>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2267" b="0" i="0" u="none" strike="noStrike" kern="0" cap="none" spc="0" normalizeH="0" baseline="0" noProof="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rPr>
                <a:t>Annex 2 high risk</a:t>
              </a:r>
            </a:p>
          </p:txBody>
        </p:sp>
        <p:grpSp>
          <p:nvGrpSpPr>
            <p:cNvPr id="136" name="Group 135">
              <a:extLst>
                <a:ext uri="{FF2B5EF4-FFF2-40B4-BE49-F238E27FC236}">
                  <a16:creationId xmlns:a16="http://schemas.microsoft.com/office/drawing/2014/main" id="{18684CEC-7905-4863-79A3-57945A9C4ADB}"/>
                </a:ext>
              </a:extLst>
            </p:cNvPr>
            <p:cNvGrpSpPr/>
            <p:nvPr/>
          </p:nvGrpSpPr>
          <p:grpSpPr>
            <a:xfrm>
              <a:off x="10592325" y="5436042"/>
              <a:ext cx="377067" cy="371900"/>
              <a:chOff x="8905409" y="2499332"/>
              <a:chExt cx="377067" cy="371900"/>
            </a:xfrm>
          </p:grpSpPr>
          <p:sp>
            <p:nvSpPr>
              <p:cNvPr id="137" name="Google Shape;159;p16">
                <a:extLst>
                  <a:ext uri="{FF2B5EF4-FFF2-40B4-BE49-F238E27FC236}">
                    <a16:creationId xmlns:a16="http://schemas.microsoft.com/office/drawing/2014/main" id="{753FF41E-9E6E-9492-CFBF-D7B500A72C1E}"/>
                  </a:ext>
                </a:extLst>
              </p:cNvPr>
              <p:cNvSpPr/>
              <p:nvPr/>
            </p:nvSpPr>
            <p:spPr>
              <a:xfrm>
                <a:off x="8905409" y="2499332"/>
                <a:ext cx="377067" cy="371900"/>
              </a:xfrm>
              <a:custGeom>
                <a:avLst/>
                <a:gdLst/>
                <a:ahLst/>
                <a:cxnLst/>
                <a:rect l="l" t="t" r="r" b="b"/>
                <a:pathLst>
                  <a:path w="11312" h="11157" extrusionOk="0">
                    <a:moveTo>
                      <a:pt x="9918" y="596"/>
                    </a:moveTo>
                    <a:cubicBezTo>
                      <a:pt x="10359" y="596"/>
                      <a:pt x="10716" y="941"/>
                      <a:pt x="10716" y="1381"/>
                    </a:cubicBezTo>
                    <a:lnTo>
                      <a:pt x="10716" y="6501"/>
                    </a:lnTo>
                    <a:cubicBezTo>
                      <a:pt x="10716" y="6930"/>
                      <a:pt x="10359" y="7287"/>
                      <a:pt x="9918" y="7287"/>
                    </a:cubicBezTo>
                    <a:lnTo>
                      <a:pt x="1381" y="7287"/>
                    </a:lnTo>
                    <a:cubicBezTo>
                      <a:pt x="941" y="7287"/>
                      <a:pt x="596" y="6930"/>
                      <a:pt x="596" y="6501"/>
                    </a:cubicBezTo>
                    <a:lnTo>
                      <a:pt x="596" y="1381"/>
                    </a:lnTo>
                    <a:cubicBezTo>
                      <a:pt x="596" y="941"/>
                      <a:pt x="941" y="596"/>
                      <a:pt x="1381" y="596"/>
                    </a:cubicBezTo>
                    <a:close/>
                    <a:moveTo>
                      <a:pt x="6989" y="7739"/>
                    </a:moveTo>
                    <a:lnTo>
                      <a:pt x="6989" y="9073"/>
                    </a:lnTo>
                    <a:lnTo>
                      <a:pt x="4310" y="9073"/>
                    </a:lnTo>
                    <a:lnTo>
                      <a:pt x="4310" y="7739"/>
                    </a:lnTo>
                    <a:close/>
                    <a:moveTo>
                      <a:pt x="9156" y="9668"/>
                    </a:moveTo>
                    <a:cubicBezTo>
                      <a:pt x="9490" y="9668"/>
                      <a:pt x="9823" y="9954"/>
                      <a:pt x="9823" y="10275"/>
                    </a:cubicBezTo>
                    <a:lnTo>
                      <a:pt x="9823" y="10561"/>
                    </a:lnTo>
                    <a:lnTo>
                      <a:pt x="1632" y="10561"/>
                    </a:lnTo>
                    <a:lnTo>
                      <a:pt x="1632" y="10275"/>
                    </a:lnTo>
                    <a:cubicBezTo>
                      <a:pt x="1632" y="9954"/>
                      <a:pt x="1834" y="9668"/>
                      <a:pt x="2155" y="9668"/>
                    </a:cubicBezTo>
                    <a:close/>
                    <a:moveTo>
                      <a:pt x="1393" y="0"/>
                    </a:moveTo>
                    <a:cubicBezTo>
                      <a:pt x="655" y="0"/>
                      <a:pt x="0" y="608"/>
                      <a:pt x="0" y="1358"/>
                    </a:cubicBezTo>
                    <a:lnTo>
                      <a:pt x="0" y="6430"/>
                    </a:lnTo>
                    <a:cubicBezTo>
                      <a:pt x="0" y="7168"/>
                      <a:pt x="655" y="7739"/>
                      <a:pt x="1393" y="7739"/>
                    </a:cubicBezTo>
                    <a:lnTo>
                      <a:pt x="3870" y="7739"/>
                    </a:lnTo>
                    <a:lnTo>
                      <a:pt x="3870" y="9073"/>
                    </a:lnTo>
                    <a:lnTo>
                      <a:pt x="2155" y="9073"/>
                    </a:lnTo>
                    <a:cubicBezTo>
                      <a:pt x="1512" y="9073"/>
                      <a:pt x="1036" y="9632"/>
                      <a:pt x="1036" y="10275"/>
                    </a:cubicBezTo>
                    <a:lnTo>
                      <a:pt x="1036" y="11156"/>
                    </a:lnTo>
                    <a:lnTo>
                      <a:pt x="10264" y="11156"/>
                    </a:lnTo>
                    <a:lnTo>
                      <a:pt x="10264" y="10275"/>
                    </a:lnTo>
                    <a:cubicBezTo>
                      <a:pt x="10264" y="9632"/>
                      <a:pt x="9799" y="9073"/>
                      <a:pt x="9156" y="9073"/>
                    </a:cubicBezTo>
                    <a:lnTo>
                      <a:pt x="7585" y="9073"/>
                    </a:lnTo>
                    <a:lnTo>
                      <a:pt x="7585" y="7739"/>
                    </a:lnTo>
                    <a:lnTo>
                      <a:pt x="9918" y="7739"/>
                    </a:lnTo>
                    <a:cubicBezTo>
                      <a:pt x="10668" y="7739"/>
                      <a:pt x="11311" y="7168"/>
                      <a:pt x="11311" y="6430"/>
                    </a:cubicBezTo>
                    <a:lnTo>
                      <a:pt x="11311" y="1358"/>
                    </a:lnTo>
                    <a:cubicBezTo>
                      <a:pt x="11311" y="608"/>
                      <a:pt x="10668" y="0"/>
                      <a:pt x="9918"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38" name="Google Shape;160;p16">
                <a:extLst>
                  <a:ext uri="{FF2B5EF4-FFF2-40B4-BE49-F238E27FC236}">
                    <a16:creationId xmlns:a16="http://schemas.microsoft.com/office/drawing/2014/main" id="{81FFC483-5933-334B-8590-4371A8486A23}"/>
                  </a:ext>
                </a:extLst>
              </p:cNvPr>
              <p:cNvSpPr/>
              <p:nvPr/>
            </p:nvSpPr>
            <p:spPr>
              <a:xfrm>
                <a:off x="9004609" y="2533865"/>
                <a:ext cx="238167" cy="154000"/>
              </a:xfrm>
              <a:custGeom>
                <a:avLst/>
                <a:gdLst/>
                <a:ahLst/>
                <a:cxnLst/>
                <a:rect l="l" t="t" r="r" b="b"/>
                <a:pathLst>
                  <a:path w="7145" h="4620" extrusionOk="0">
                    <a:moveTo>
                      <a:pt x="1" y="0"/>
                    </a:moveTo>
                    <a:lnTo>
                      <a:pt x="1" y="596"/>
                    </a:lnTo>
                    <a:lnTo>
                      <a:pt x="6025" y="596"/>
                    </a:lnTo>
                    <a:cubicBezTo>
                      <a:pt x="6299" y="596"/>
                      <a:pt x="6549" y="857"/>
                      <a:pt x="6549" y="1131"/>
                    </a:cubicBezTo>
                    <a:lnTo>
                      <a:pt x="6549" y="4620"/>
                    </a:lnTo>
                    <a:lnTo>
                      <a:pt x="7145" y="4620"/>
                    </a:lnTo>
                    <a:lnTo>
                      <a:pt x="7145" y="1131"/>
                    </a:lnTo>
                    <a:cubicBezTo>
                      <a:pt x="7145" y="536"/>
                      <a:pt x="6609" y="0"/>
                      <a:pt x="6025"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grpSp>
      </p:grpSp>
      <p:grpSp>
        <p:nvGrpSpPr>
          <p:cNvPr id="160" name="Group 159">
            <a:extLst>
              <a:ext uri="{FF2B5EF4-FFF2-40B4-BE49-F238E27FC236}">
                <a16:creationId xmlns:a16="http://schemas.microsoft.com/office/drawing/2014/main" id="{CF16B5B3-1653-6313-4751-973871D39746}"/>
              </a:ext>
            </a:extLst>
          </p:cNvPr>
          <p:cNvGrpSpPr/>
          <p:nvPr/>
        </p:nvGrpSpPr>
        <p:grpSpPr>
          <a:xfrm>
            <a:off x="1151344" y="3788113"/>
            <a:ext cx="2684392" cy="2120586"/>
            <a:chOff x="1151344" y="3788113"/>
            <a:chExt cx="2684392" cy="2120586"/>
          </a:xfrm>
        </p:grpSpPr>
        <p:sp>
          <p:nvSpPr>
            <p:cNvPr id="120" name="Google Shape;123;p16">
              <a:extLst>
                <a:ext uri="{FF2B5EF4-FFF2-40B4-BE49-F238E27FC236}">
                  <a16:creationId xmlns:a16="http://schemas.microsoft.com/office/drawing/2014/main" id="{1BD96159-03BC-C7F7-90BB-09490653B49D}"/>
                </a:ext>
              </a:extLst>
            </p:cNvPr>
            <p:cNvSpPr txBox="1"/>
            <p:nvPr/>
          </p:nvSpPr>
          <p:spPr>
            <a:xfrm>
              <a:off x="1151344" y="4838447"/>
              <a:ext cx="2081198" cy="572800"/>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2267" b="0" i="0" u="none" strike="noStrike" kern="0" cap="none" spc="0" normalizeH="0" baseline="0" noProof="0" err="1">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rPr>
                <a:t>GPAI</a:t>
              </a:r>
              <a:r>
                <a:rPr kumimoji="0" lang="en-GB" sz="2267" b="0" i="0" u="none" strike="noStrike" kern="0" cap="none" spc="0" normalizeH="0" baseline="0" noProof="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rPr>
                <a:t> rules apply</a:t>
              </a:r>
              <a:endParaRPr kumimoji="0" sz="2267" b="0" i="0" u="none" strike="noStrike" kern="0" cap="none" spc="0" normalizeH="0" baseline="0" noProof="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endParaRPr>
            </a:p>
          </p:txBody>
        </p:sp>
        <p:grpSp>
          <p:nvGrpSpPr>
            <p:cNvPr id="156" name="Group 155">
              <a:extLst>
                <a:ext uri="{FF2B5EF4-FFF2-40B4-BE49-F238E27FC236}">
                  <a16:creationId xmlns:a16="http://schemas.microsoft.com/office/drawing/2014/main" id="{7DEC30C9-A250-B994-54FB-A9AC265A9513}"/>
                </a:ext>
              </a:extLst>
            </p:cNvPr>
            <p:cNvGrpSpPr/>
            <p:nvPr/>
          </p:nvGrpSpPr>
          <p:grpSpPr>
            <a:xfrm>
              <a:off x="1683938" y="3788113"/>
              <a:ext cx="2151798" cy="2120586"/>
              <a:chOff x="1683938" y="3788113"/>
              <a:chExt cx="2151798" cy="2120586"/>
            </a:xfrm>
          </p:grpSpPr>
          <p:sp>
            <p:nvSpPr>
              <p:cNvPr id="119" name="Google Shape;119;p16">
                <a:extLst>
                  <a:ext uri="{FF2B5EF4-FFF2-40B4-BE49-F238E27FC236}">
                    <a16:creationId xmlns:a16="http://schemas.microsoft.com/office/drawing/2014/main" id="{F0AB04C4-BED0-1CBC-1D1B-FDC2E5CE845D}"/>
                  </a:ext>
                </a:extLst>
              </p:cNvPr>
              <p:cNvSpPr/>
              <p:nvPr/>
            </p:nvSpPr>
            <p:spPr>
              <a:xfrm>
                <a:off x="1683938" y="3788113"/>
                <a:ext cx="2151798" cy="785433"/>
              </a:xfrm>
              <a:custGeom>
                <a:avLst/>
                <a:gdLst/>
                <a:ahLst/>
                <a:cxnLst/>
                <a:rect l="l" t="t" r="r" b="b"/>
                <a:pathLst>
                  <a:path w="45375" h="23563" extrusionOk="0">
                    <a:moveTo>
                      <a:pt x="0" y="0"/>
                    </a:moveTo>
                    <a:lnTo>
                      <a:pt x="0" y="23563"/>
                    </a:lnTo>
                    <a:lnTo>
                      <a:pt x="33599" y="23563"/>
                    </a:lnTo>
                    <a:cubicBezTo>
                      <a:pt x="40100" y="23563"/>
                      <a:pt x="45375" y="18288"/>
                      <a:pt x="45375" y="11788"/>
                    </a:cubicBezTo>
                    <a:cubicBezTo>
                      <a:pt x="45375" y="5275"/>
                      <a:pt x="40100" y="0"/>
                      <a:pt x="33599" y="0"/>
                    </a:cubicBezTo>
                    <a:close/>
                  </a:path>
                </a:pathLst>
              </a:custGeom>
              <a:solidFill>
                <a:schemeClr val="accent6"/>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220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12 months</a:t>
                </a:r>
              </a:p>
            </p:txBody>
          </p:sp>
          <p:sp>
            <p:nvSpPr>
              <p:cNvPr id="139" name="Google Shape;140;p16">
                <a:extLst>
                  <a:ext uri="{FF2B5EF4-FFF2-40B4-BE49-F238E27FC236}">
                    <a16:creationId xmlns:a16="http://schemas.microsoft.com/office/drawing/2014/main" id="{121D26D6-4A1C-95D6-F7C1-F1A0647BCF24}"/>
                  </a:ext>
                </a:extLst>
              </p:cNvPr>
              <p:cNvSpPr/>
              <p:nvPr/>
            </p:nvSpPr>
            <p:spPr>
              <a:xfrm>
                <a:off x="3246240" y="4468699"/>
                <a:ext cx="306800" cy="1440000"/>
              </a:xfrm>
              <a:custGeom>
                <a:avLst/>
                <a:gdLst/>
                <a:ahLst/>
                <a:cxnLst/>
                <a:rect l="l" t="t" r="r" b="b"/>
                <a:pathLst>
                  <a:path w="9204" h="44804" extrusionOk="0">
                    <a:moveTo>
                      <a:pt x="7097" y="0"/>
                    </a:moveTo>
                    <a:cubicBezTo>
                      <a:pt x="2810" y="2143"/>
                      <a:pt x="0" y="6549"/>
                      <a:pt x="0" y="11514"/>
                    </a:cubicBezTo>
                    <a:lnTo>
                      <a:pt x="0" y="44803"/>
                    </a:lnTo>
                    <a:lnTo>
                      <a:pt x="2179" y="44803"/>
                    </a:lnTo>
                    <a:lnTo>
                      <a:pt x="2179" y="11514"/>
                    </a:lnTo>
                    <a:cubicBezTo>
                      <a:pt x="2179" y="6965"/>
                      <a:pt x="5025" y="2989"/>
                      <a:pt x="9204" y="1477"/>
                    </a:cubicBezTo>
                    <a:lnTo>
                      <a:pt x="9204" y="0"/>
                    </a:lnTo>
                    <a:close/>
                  </a:path>
                </a:pathLst>
              </a:custGeom>
              <a:solidFill>
                <a:schemeClr val="accent6"/>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grpSp>
      </p:grpSp>
      <p:grpSp>
        <p:nvGrpSpPr>
          <p:cNvPr id="162" name="Group 161">
            <a:extLst>
              <a:ext uri="{FF2B5EF4-FFF2-40B4-BE49-F238E27FC236}">
                <a16:creationId xmlns:a16="http://schemas.microsoft.com/office/drawing/2014/main" id="{6F6BD8B2-497B-6A79-45C1-0898E2D9040E}"/>
              </a:ext>
            </a:extLst>
          </p:cNvPr>
          <p:cNvGrpSpPr/>
          <p:nvPr/>
        </p:nvGrpSpPr>
        <p:grpSpPr>
          <a:xfrm>
            <a:off x="6259125" y="3785294"/>
            <a:ext cx="2338755" cy="2154527"/>
            <a:chOff x="6259125" y="3785294"/>
            <a:chExt cx="2338755" cy="2154527"/>
          </a:xfrm>
        </p:grpSpPr>
        <p:sp>
          <p:nvSpPr>
            <p:cNvPr id="122" name="Google Shape;131;p16">
              <a:extLst>
                <a:ext uri="{FF2B5EF4-FFF2-40B4-BE49-F238E27FC236}">
                  <a16:creationId xmlns:a16="http://schemas.microsoft.com/office/drawing/2014/main" id="{C7D86A8E-054E-6F79-C7F2-D637A2931356}"/>
                </a:ext>
              </a:extLst>
            </p:cNvPr>
            <p:cNvSpPr txBox="1"/>
            <p:nvPr/>
          </p:nvSpPr>
          <p:spPr>
            <a:xfrm>
              <a:off x="6259125" y="4787857"/>
              <a:ext cx="1741199" cy="354873"/>
            </a:xfrm>
            <a:prstGeom prst="rect">
              <a:avLst/>
            </a:prstGeom>
            <a:noFill/>
            <a:ln>
              <a:noFill/>
            </a:ln>
          </p:spPr>
          <p:txBody>
            <a:bodyPr spcFirstLastPara="1" wrap="square" lIns="121900" tIns="121900" rIns="121900" bIns="121900" anchor="ctr" anchorCtr="0">
              <a:noAutofit/>
            </a:bodyPr>
            <a:lstStyle/>
            <a:p>
              <a:pPr algn="r" defTabSz="1219170">
                <a:buClr>
                  <a:srgbClr val="000000"/>
                </a:buClr>
                <a:defRPr/>
              </a:pPr>
              <a:r>
                <a:rPr kumimoji="0" lang="en-GB" sz="2267" b="0" i="0" u="none" strike="noStrike" kern="0" cap="none" spc="0" normalizeH="0" baseline="0" noProof="0">
                  <a:ln>
                    <a:noFill/>
                  </a:ln>
                  <a:solidFill>
                    <a:prstClr val="white"/>
                  </a:solidFill>
                  <a:effectLst/>
                  <a:uLnTx/>
                  <a:uFillTx/>
                  <a:latin typeface="Arial" panose="020B0604020202020204" pitchFamily="34" charset="0"/>
                  <a:ea typeface="Fira Sans Extra Condensed Medium"/>
                  <a:cs typeface="Arial" panose="020B0604020202020204" pitchFamily="34" charset="0"/>
                  <a:sym typeface="Fira Sans Extra Condensed Medium"/>
                </a:rPr>
                <a:t>Annex 3 high risk</a:t>
              </a:r>
            </a:p>
          </p:txBody>
        </p:sp>
        <p:pic>
          <p:nvPicPr>
            <p:cNvPr id="135" name="Immagine 15">
              <a:extLst>
                <a:ext uri="{FF2B5EF4-FFF2-40B4-BE49-F238E27FC236}">
                  <a16:creationId xmlns:a16="http://schemas.microsoft.com/office/drawing/2014/main" id="{699CB9AF-6527-631B-4936-FE595F29F6D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021003" y="5369926"/>
              <a:ext cx="482608" cy="482608"/>
            </a:xfrm>
            <a:prstGeom prst="rect">
              <a:avLst/>
            </a:prstGeom>
          </p:spPr>
        </p:pic>
        <p:grpSp>
          <p:nvGrpSpPr>
            <p:cNvPr id="158" name="Group 157">
              <a:extLst>
                <a:ext uri="{FF2B5EF4-FFF2-40B4-BE49-F238E27FC236}">
                  <a16:creationId xmlns:a16="http://schemas.microsoft.com/office/drawing/2014/main" id="{28B18532-A4B9-D5C7-C4D3-FAF94AD46218}"/>
                </a:ext>
              </a:extLst>
            </p:cNvPr>
            <p:cNvGrpSpPr/>
            <p:nvPr/>
          </p:nvGrpSpPr>
          <p:grpSpPr>
            <a:xfrm>
              <a:off x="6292382" y="3785294"/>
              <a:ext cx="2305498" cy="2154527"/>
              <a:chOff x="6292382" y="3785294"/>
              <a:chExt cx="2305498" cy="2154527"/>
            </a:xfrm>
          </p:grpSpPr>
          <p:sp>
            <p:nvSpPr>
              <p:cNvPr id="140" name="Google Shape;140;p16">
                <a:extLst>
                  <a:ext uri="{FF2B5EF4-FFF2-40B4-BE49-F238E27FC236}">
                    <a16:creationId xmlns:a16="http://schemas.microsoft.com/office/drawing/2014/main" id="{4A799576-6E7E-1A05-6C18-7A7A2F98305E}"/>
                  </a:ext>
                </a:extLst>
              </p:cNvPr>
              <p:cNvSpPr/>
              <p:nvPr/>
            </p:nvSpPr>
            <p:spPr>
              <a:xfrm>
                <a:off x="7910242" y="4499821"/>
                <a:ext cx="306800" cy="1440000"/>
              </a:xfrm>
              <a:custGeom>
                <a:avLst/>
                <a:gdLst/>
                <a:ahLst/>
                <a:cxnLst/>
                <a:rect l="l" t="t" r="r" b="b"/>
                <a:pathLst>
                  <a:path w="9204" h="44804" extrusionOk="0">
                    <a:moveTo>
                      <a:pt x="7097" y="0"/>
                    </a:moveTo>
                    <a:cubicBezTo>
                      <a:pt x="2810" y="2143"/>
                      <a:pt x="0" y="6549"/>
                      <a:pt x="0" y="11514"/>
                    </a:cubicBezTo>
                    <a:lnTo>
                      <a:pt x="0" y="44803"/>
                    </a:lnTo>
                    <a:lnTo>
                      <a:pt x="2179" y="44803"/>
                    </a:lnTo>
                    <a:lnTo>
                      <a:pt x="2179" y="11514"/>
                    </a:lnTo>
                    <a:cubicBezTo>
                      <a:pt x="2179" y="6965"/>
                      <a:pt x="5025" y="2989"/>
                      <a:pt x="9204" y="1477"/>
                    </a:cubicBezTo>
                    <a:lnTo>
                      <a:pt x="9204" y="0"/>
                    </a:lnTo>
                    <a:close/>
                  </a:path>
                </a:pathLst>
              </a:custGeom>
              <a:solidFill>
                <a:schemeClr val="tx2"/>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867"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a:endParaRPr>
              </a:p>
            </p:txBody>
          </p:sp>
          <p:sp>
            <p:nvSpPr>
              <p:cNvPr id="141" name="Google Shape;141;p16">
                <a:extLst>
                  <a:ext uri="{FF2B5EF4-FFF2-40B4-BE49-F238E27FC236}">
                    <a16:creationId xmlns:a16="http://schemas.microsoft.com/office/drawing/2014/main" id="{C2AE54E2-50E9-4087-767C-93F9E2DE6A46}"/>
                  </a:ext>
                </a:extLst>
              </p:cNvPr>
              <p:cNvSpPr/>
              <p:nvPr/>
            </p:nvSpPr>
            <p:spPr>
              <a:xfrm>
                <a:off x="6292382" y="3785294"/>
                <a:ext cx="2305498" cy="785433"/>
              </a:xfrm>
              <a:custGeom>
                <a:avLst/>
                <a:gdLst/>
                <a:ahLst/>
                <a:cxnLst/>
                <a:rect l="l" t="t" r="r" b="b"/>
                <a:pathLst>
                  <a:path w="49603" h="23563" extrusionOk="0">
                    <a:moveTo>
                      <a:pt x="1" y="0"/>
                    </a:moveTo>
                    <a:cubicBezTo>
                      <a:pt x="4621" y="1917"/>
                      <a:pt x="7871" y="6477"/>
                      <a:pt x="7871" y="11788"/>
                    </a:cubicBezTo>
                    <a:cubicBezTo>
                      <a:pt x="7871" y="17098"/>
                      <a:pt x="4621" y="21646"/>
                      <a:pt x="1" y="23563"/>
                    </a:cubicBezTo>
                    <a:lnTo>
                      <a:pt x="37827" y="23563"/>
                    </a:lnTo>
                    <a:cubicBezTo>
                      <a:pt x="44328" y="23563"/>
                      <a:pt x="49602" y="18288"/>
                      <a:pt x="49602" y="11788"/>
                    </a:cubicBezTo>
                    <a:cubicBezTo>
                      <a:pt x="49602" y="5275"/>
                      <a:pt x="44328" y="0"/>
                      <a:pt x="37827" y="0"/>
                    </a:cubicBezTo>
                    <a:close/>
                  </a:path>
                </a:pathLst>
              </a:custGeom>
              <a:solidFill>
                <a:schemeClr val="tx2"/>
              </a:solidFill>
              <a:ln>
                <a:noFill/>
              </a:ln>
            </p:spPr>
            <p:txBody>
              <a:bodyPr spcFirstLastPara="1" wrap="square" lIns="216000" tIns="121900" rIns="720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2200" b="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24</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2200" b="0" i="0" u="none" strike="noStrike" kern="0" cap="none" spc="0" normalizeH="0" baseline="0" noProof="0">
                    <a:ln>
                      <a:noFill/>
                    </a:ln>
                    <a:solidFill>
                      <a:prstClr val="white"/>
                    </a:solidFill>
                    <a:effectLst/>
                    <a:uLnTx/>
                    <a:uFillTx/>
                    <a:latin typeface="Arial" panose="020B0604020202020204" pitchFamily="34" charset="0"/>
                    <a:ea typeface="Fira Sans Extra Condensed"/>
                    <a:cs typeface="Arial" panose="020B0604020202020204" pitchFamily="34" charset="0"/>
                    <a:sym typeface="Fira Sans Extra Condensed"/>
                  </a:rPr>
                  <a:t>months</a:t>
                </a:r>
              </a:p>
            </p:txBody>
          </p:sp>
        </p:grpSp>
      </p:grpSp>
      <p:grpSp>
        <p:nvGrpSpPr>
          <p:cNvPr id="197" name="Group 196">
            <a:extLst>
              <a:ext uri="{FF2B5EF4-FFF2-40B4-BE49-F238E27FC236}">
                <a16:creationId xmlns:a16="http://schemas.microsoft.com/office/drawing/2014/main" id="{431DF9D2-2AE3-CBC6-866E-5124A03AE4DC}"/>
              </a:ext>
            </a:extLst>
          </p:cNvPr>
          <p:cNvGrpSpPr/>
          <p:nvPr/>
        </p:nvGrpSpPr>
        <p:grpSpPr>
          <a:xfrm>
            <a:off x="1320165" y="2701925"/>
            <a:ext cx="9371360" cy="1479900"/>
            <a:chOff x="1320165" y="2705100"/>
            <a:chExt cx="9371360" cy="1479900"/>
          </a:xfrm>
        </p:grpSpPr>
        <p:cxnSp>
          <p:nvCxnSpPr>
            <p:cNvPr id="177" name="Straight Connector 176">
              <a:extLst>
                <a:ext uri="{FF2B5EF4-FFF2-40B4-BE49-F238E27FC236}">
                  <a16:creationId xmlns:a16="http://schemas.microsoft.com/office/drawing/2014/main" id="{15D94714-9BA2-579E-E568-CE4B6612C8BB}"/>
                </a:ext>
              </a:extLst>
            </p:cNvPr>
            <p:cNvCxnSpPr>
              <a:cxnSpLocks/>
            </p:cNvCxnSpPr>
            <p:nvPr/>
          </p:nvCxnSpPr>
          <p:spPr>
            <a:xfrm>
              <a:off x="10246028" y="2717588"/>
              <a:ext cx="445497" cy="0"/>
            </a:xfrm>
            <a:prstGeom prst="line">
              <a:avLst/>
            </a:prstGeom>
            <a:ln w="28575">
              <a:solidFill>
                <a:srgbClr val="006BC5"/>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AB84C287-F70C-0D89-5183-002A7055A1F5}"/>
                </a:ext>
              </a:extLst>
            </p:cNvPr>
            <p:cNvCxnSpPr>
              <a:cxnSpLocks/>
            </p:cNvCxnSpPr>
            <p:nvPr/>
          </p:nvCxnSpPr>
          <p:spPr>
            <a:xfrm>
              <a:off x="10691525" y="2705100"/>
              <a:ext cx="0" cy="738000"/>
            </a:xfrm>
            <a:prstGeom prst="line">
              <a:avLst/>
            </a:prstGeom>
            <a:ln w="28575">
              <a:solidFill>
                <a:srgbClr val="006BC5"/>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C96284F-8164-4FDC-0196-260607721139}"/>
                </a:ext>
              </a:extLst>
            </p:cNvPr>
            <p:cNvCxnSpPr>
              <a:cxnSpLocks/>
            </p:cNvCxnSpPr>
            <p:nvPr/>
          </p:nvCxnSpPr>
          <p:spPr>
            <a:xfrm flipH="1">
              <a:off x="1320165" y="3432395"/>
              <a:ext cx="9371360" cy="10684"/>
            </a:xfrm>
            <a:prstGeom prst="line">
              <a:avLst/>
            </a:prstGeom>
            <a:ln w="28575">
              <a:solidFill>
                <a:srgbClr val="006BC5"/>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DA73FC8F-635E-C25C-4163-BF4397C07033}"/>
                </a:ext>
              </a:extLst>
            </p:cNvPr>
            <p:cNvCxnSpPr/>
            <p:nvPr/>
          </p:nvCxnSpPr>
          <p:spPr>
            <a:xfrm>
              <a:off x="1320165" y="3429000"/>
              <a:ext cx="0" cy="756000"/>
            </a:xfrm>
            <a:prstGeom prst="line">
              <a:avLst/>
            </a:prstGeom>
            <a:ln w="28575">
              <a:solidFill>
                <a:srgbClr val="006BC5"/>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89DFF0DB-8EAE-5EC8-C70F-1667CF425E98}"/>
                </a:ext>
              </a:extLst>
            </p:cNvPr>
            <p:cNvCxnSpPr/>
            <p:nvPr/>
          </p:nvCxnSpPr>
          <p:spPr>
            <a:xfrm>
              <a:off x="1320165" y="4178010"/>
              <a:ext cx="363773" cy="0"/>
            </a:xfrm>
            <a:prstGeom prst="line">
              <a:avLst/>
            </a:prstGeom>
            <a:ln w="28575">
              <a:solidFill>
                <a:srgbClr val="006BC5"/>
              </a:solidFill>
            </a:ln>
          </p:spPr>
          <p:style>
            <a:lnRef idx="1">
              <a:schemeClr val="accent1"/>
            </a:lnRef>
            <a:fillRef idx="0">
              <a:schemeClr val="accent1"/>
            </a:fillRef>
            <a:effectRef idx="0">
              <a:schemeClr val="accent1"/>
            </a:effectRef>
            <a:fontRef idx="minor">
              <a:schemeClr val="tx1"/>
            </a:fontRef>
          </p:style>
        </p:cxnSp>
      </p:grpSp>
      <p:pic>
        <p:nvPicPr>
          <p:cNvPr id="2" name="Picture 2">
            <a:extLst>
              <a:ext uri="{FF2B5EF4-FFF2-40B4-BE49-F238E27FC236}">
                <a16:creationId xmlns:a16="http://schemas.microsoft.com/office/drawing/2014/main" id="{934A3490-9D57-E8FE-22D0-AC4CACFCD0B4}"/>
              </a:ext>
            </a:extLst>
          </p:cNvPr>
          <p:cNvPicPr>
            <a:picLocks noChangeAspect="1" noChangeArrowheads="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bwMode="auto">
          <a:xfrm>
            <a:off x="10687758" y="325354"/>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91135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B6D2D29-B78A-4655-ADF9-74844D143896}"/>
              </a:ext>
            </a:extLst>
          </p:cNvPr>
          <p:cNvSpPr>
            <a:spLocks noGrp="1"/>
          </p:cNvSpPr>
          <p:nvPr>
            <p:ph type="sldNum" sz="quarter" idx="12"/>
          </p:nvPr>
        </p:nvSpPr>
        <p:spPr/>
        <p:txBody>
          <a:bodyPr/>
          <a:lstStyle/>
          <a:p>
            <a:fld id="{F9591D4C-BB8F-AE46-BE73-C616F30BBC5B}" type="slidenum">
              <a:rPr lang="en-US" smtClean="0"/>
              <a:pPr/>
              <a:t>14</a:t>
            </a:fld>
            <a:endParaRPr lang="en-US"/>
          </a:p>
        </p:txBody>
      </p:sp>
      <p:sp>
        <p:nvSpPr>
          <p:cNvPr id="8" name="Text Placeholder 7">
            <a:extLst>
              <a:ext uri="{FF2B5EF4-FFF2-40B4-BE49-F238E27FC236}">
                <a16:creationId xmlns:a16="http://schemas.microsoft.com/office/drawing/2014/main" id="{45B51A34-F108-4E59-8157-FF421153B660}"/>
              </a:ext>
            </a:extLst>
          </p:cNvPr>
          <p:cNvSpPr>
            <a:spLocks noGrp="1"/>
          </p:cNvSpPr>
          <p:nvPr>
            <p:ph type="body" sz="quarter" idx="15"/>
          </p:nvPr>
        </p:nvSpPr>
        <p:spPr>
          <a:xfrm>
            <a:off x="515938" y="899161"/>
            <a:ext cx="9995044" cy="237308"/>
          </a:xfrm>
        </p:spPr>
        <p:txBody>
          <a:bodyPr/>
          <a:lstStyle/>
          <a:p>
            <a:r>
              <a:rPr lang="en-GB"/>
              <a:t>A comprehensive, risk-based Regulation for persons selling (as a product or service) and using AI</a:t>
            </a:r>
          </a:p>
        </p:txBody>
      </p:sp>
      <p:sp>
        <p:nvSpPr>
          <p:cNvPr id="6" name="Title 5">
            <a:extLst>
              <a:ext uri="{FF2B5EF4-FFF2-40B4-BE49-F238E27FC236}">
                <a16:creationId xmlns:a16="http://schemas.microsoft.com/office/drawing/2014/main" id="{3409F8A9-4309-46A3-9C59-BAD7BC049E1C}"/>
              </a:ext>
            </a:extLst>
          </p:cNvPr>
          <p:cNvSpPr>
            <a:spLocks noGrp="1"/>
          </p:cNvSpPr>
          <p:nvPr>
            <p:ph type="title"/>
          </p:nvPr>
        </p:nvSpPr>
        <p:spPr/>
        <p:txBody>
          <a:bodyPr/>
          <a:lstStyle/>
          <a:p>
            <a:r>
              <a:rPr lang="en-GB"/>
              <a:t>EU AI Act</a:t>
            </a:r>
          </a:p>
        </p:txBody>
      </p:sp>
      <p:grpSp>
        <p:nvGrpSpPr>
          <p:cNvPr id="45" name="Group 44">
            <a:extLst>
              <a:ext uri="{FF2B5EF4-FFF2-40B4-BE49-F238E27FC236}">
                <a16:creationId xmlns:a16="http://schemas.microsoft.com/office/drawing/2014/main" id="{8B0043DB-32B3-A922-0676-EA71EBD26FF6}"/>
              </a:ext>
            </a:extLst>
          </p:cNvPr>
          <p:cNvGrpSpPr/>
          <p:nvPr/>
        </p:nvGrpSpPr>
        <p:grpSpPr>
          <a:xfrm>
            <a:off x="673065" y="2043797"/>
            <a:ext cx="10468184" cy="3196434"/>
            <a:chOff x="1345580" y="3158230"/>
            <a:chExt cx="8860205" cy="2705442"/>
          </a:xfrm>
        </p:grpSpPr>
        <p:cxnSp>
          <p:nvCxnSpPr>
            <p:cNvPr id="30" name="Straight Connector 29">
              <a:extLst>
                <a:ext uri="{FF2B5EF4-FFF2-40B4-BE49-F238E27FC236}">
                  <a16:creationId xmlns:a16="http://schemas.microsoft.com/office/drawing/2014/main" id="{4D00BF0A-13DD-F43D-DC0B-7DE26D0ADD25}"/>
                </a:ext>
              </a:extLst>
            </p:cNvPr>
            <p:cNvCxnSpPr>
              <a:cxnSpLocks/>
            </p:cNvCxnSpPr>
            <p:nvPr/>
          </p:nvCxnSpPr>
          <p:spPr>
            <a:xfrm flipH="1">
              <a:off x="4186530" y="4625547"/>
              <a:ext cx="899817" cy="37983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96932612-E050-D16B-CCCC-EB5349D0D3CC}"/>
                </a:ext>
              </a:extLst>
            </p:cNvPr>
            <p:cNvCxnSpPr>
              <a:cxnSpLocks/>
            </p:cNvCxnSpPr>
            <p:nvPr/>
          </p:nvCxnSpPr>
          <p:spPr>
            <a:xfrm flipH="1">
              <a:off x="4482223" y="5108580"/>
              <a:ext cx="715988" cy="621543"/>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B447083D-CE5D-C9CD-D991-7D03D54E579E}"/>
                </a:ext>
              </a:extLst>
            </p:cNvPr>
            <p:cNvCxnSpPr>
              <a:cxnSpLocks/>
            </p:cNvCxnSpPr>
            <p:nvPr/>
          </p:nvCxnSpPr>
          <p:spPr>
            <a:xfrm flipH="1">
              <a:off x="3857918" y="5005377"/>
              <a:ext cx="328612" cy="4688"/>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14B1FC3-3A1C-848C-489B-869DA2AECE04}"/>
                </a:ext>
              </a:extLst>
            </p:cNvPr>
            <p:cNvCxnSpPr>
              <a:cxnSpLocks/>
            </p:cNvCxnSpPr>
            <p:nvPr/>
          </p:nvCxnSpPr>
          <p:spPr>
            <a:xfrm flipH="1" flipV="1">
              <a:off x="4186530" y="5730123"/>
              <a:ext cx="295693"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CECC4EC4-749A-FDCC-75BD-C69B16C95FF8}"/>
                </a:ext>
              </a:extLst>
            </p:cNvPr>
            <p:cNvCxnSpPr>
              <a:cxnSpLocks/>
              <a:endCxn id="9" idx="3"/>
            </p:cNvCxnSpPr>
            <p:nvPr/>
          </p:nvCxnSpPr>
          <p:spPr>
            <a:xfrm flipH="1" flipV="1">
              <a:off x="4055327" y="4205746"/>
              <a:ext cx="899817" cy="375056"/>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C1885817-23F8-CC03-7F0E-0BB549D80BAF}"/>
                </a:ext>
              </a:extLst>
            </p:cNvPr>
            <p:cNvCxnSpPr>
              <a:cxnSpLocks/>
              <a:stCxn id="3" idx="1"/>
            </p:cNvCxnSpPr>
            <p:nvPr/>
          </p:nvCxnSpPr>
          <p:spPr>
            <a:xfrm flipH="1" flipV="1">
              <a:off x="4351020" y="3476225"/>
              <a:ext cx="715988" cy="621543"/>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ADAAB262-9719-0367-91D4-14D09FCE38D1}"/>
                </a:ext>
              </a:extLst>
            </p:cNvPr>
            <p:cNvCxnSpPr>
              <a:cxnSpLocks/>
              <a:stCxn id="9" idx="3"/>
            </p:cNvCxnSpPr>
            <p:nvPr/>
          </p:nvCxnSpPr>
          <p:spPr>
            <a:xfrm flipH="1" flipV="1">
              <a:off x="3726715" y="4196283"/>
              <a:ext cx="328612" cy="9463"/>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861A8CB8-EABA-6A8D-17B5-A09F390B5BD9}"/>
                </a:ext>
              </a:extLst>
            </p:cNvPr>
            <p:cNvCxnSpPr>
              <a:cxnSpLocks/>
            </p:cNvCxnSpPr>
            <p:nvPr/>
          </p:nvCxnSpPr>
          <p:spPr>
            <a:xfrm flipH="1">
              <a:off x="4055327" y="3476225"/>
              <a:ext cx="295693"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DB2457C4-C3E5-3FB5-A787-7F4014BD9BD2}"/>
                </a:ext>
              </a:extLst>
            </p:cNvPr>
            <p:cNvCxnSpPr>
              <a:cxnSpLocks/>
            </p:cNvCxnSpPr>
            <p:nvPr/>
          </p:nvCxnSpPr>
          <p:spPr>
            <a:xfrm>
              <a:off x="6006299" y="4630717"/>
              <a:ext cx="899817" cy="37983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6BA932F7-96DD-BBF0-5C96-DD1B19C38589}"/>
                </a:ext>
              </a:extLst>
            </p:cNvPr>
            <p:cNvCxnSpPr>
              <a:cxnSpLocks/>
            </p:cNvCxnSpPr>
            <p:nvPr/>
          </p:nvCxnSpPr>
          <p:spPr>
            <a:xfrm>
              <a:off x="5894435" y="5113750"/>
              <a:ext cx="715988" cy="621543"/>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BC917D05-80D6-9DD2-8C3F-2553E68E2895}"/>
                </a:ext>
              </a:extLst>
            </p:cNvPr>
            <p:cNvCxnSpPr>
              <a:cxnSpLocks/>
            </p:cNvCxnSpPr>
            <p:nvPr/>
          </p:nvCxnSpPr>
          <p:spPr>
            <a:xfrm>
              <a:off x="6906116" y="5010547"/>
              <a:ext cx="328612" cy="4688"/>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F98E8AC6-6889-7A39-A2A1-610CC170151F}"/>
                </a:ext>
              </a:extLst>
            </p:cNvPr>
            <p:cNvCxnSpPr>
              <a:cxnSpLocks/>
            </p:cNvCxnSpPr>
            <p:nvPr/>
          </p:nvCxnSpPr>
          <p:spPr>
            <a:xfrm flipV="1">
              <a:off x="6610423" y="5735293"/>
              <a:ext cx="295693"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BDAB12EC-A131-33B9-78A0-01718B89E33A}"/>
                </a:ext>
              </a:extLst>
            </p:cNvPr>
            <p:cNvCxnSpPr>
              <a:cxnSpLocks/>
            </p:cNvCxnSpPr>
            <p:nvPr/>
          </p:nvCxnSpPr>
          <p:spPr>
            <a:xfrm flipV="1">
              <a:off x="6137502" y="4206141"/>
              <a:ext cx="899817" cy="37983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D013179A-1691-72F2-A699-94C6AD1492FC}"/>
                </a:ext>
              </a:extLst>
            </p:cNvPr>
            <p:cNvCxnSpPr>
              <a:cxnSpLocks/>
            </p:cNvCxnSpPr>
            <p:nvPr/>
          </p:nvCxnSpPr>
          <p:spPr>
            <a:xfrm flipV="1">
              <a:off x="6025638" y="3481395"/>
              <a:ext cx="715988" cy="621543"/>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73CFCAFD-096E-11F2-4F93-09BF049B57D6}"/>
                </a:ext>
              </a:extLst>
            </p:cNvPr>
            <p:cNvCxnSpPr>
              <a:cxnSpLocks/>
            </p:cNvCxnSpPr>
            <p:nvPr/>
          </p:nvCxnSpPr>
          <p:spPr>
            <a:xfrm flipV="1">
              <a:off x="7037319" y="4201453"/>
              <a:ext cx="328612" cy="4688"/>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3B2C799A-6E3B-D5A6-AC34-EDB21BCD4CB2}"/>
                </a:ext>
              </a:extLst>
            </p:cNvPr>
            <p:cNvCxnSpPr>
              <a:cxnSpLocks/>
            </p:cNvCxnSpPr>
            <p:nvPr/>
          </p:nvCxnSpPr>
          <p:spPr>
            <a:xfrm>
              <a:off x="6741626" y="3481395"/>
              <a:ext cx="295693"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sp>
          <p:nvSpPr>
            <p:cNvPr id="3" name="Oval 2">
              <a:extLst>
                <a:ext uri="{FF2B5EF4-FFF2-40B4-BE49-F238E27FC236}">
                  <a16:creationId xmlns:a16="http://schemas.microsoft.com/office/drawing/2014/main" id="{1870EF66-1FE1-0694-AF5E-B90BF02146A6}"/>
                </a:ext>
              </a:extLst>
            </p:cNvPr>
            <p:cNvSpPr/>
            <p:nvPr/>
          </p:nvSpPr>
          <p:spPr>
            <a:xfrm>
              <a:off x="4843279" y="3871294"/>
              <a:ext cx="1527717" cy="1546459"/>
            </a:xfrm>
            <a:prstGeom prst="ellipse">
              <a:avLst/>
            </a:prstGeom>
            <a:ln w="13017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800">
                  <a:latin typeface="Cambria" panose="02040503050406030204" pitchFamily="18" charset="0"/>
                  <a:ea typeface="Cambria" panose="02040503050406030204" pitchFamily="18" charset="0"/>
                </a:rPr>
                <a:t>EU AI Act</a:t>
              </a:r>
            </a:p>
          </p:txBody>
        </p:sp>
        <p:sp>
          <p:nvSpPr>
            <p:cNvPr id="5" name="TextBox 4">
              <a:extLst>
                <a:ext uri="{FF2B5EF4-FFF2-40B4-BE49-F238E27FC236}">
                  <a16:creationId xmlns:a16="http://schemas.microsoft.com/office/drawing/2014/main" id="{06C69A8F-9BDD-1B4E-297F-9F027717C1AB}"/>
                </a:ext>
              </a:extLst>
            </p:cNvPr>
            <p:cNvSpPr txBox="1"/>
            <p:nvPr/>
          </p:nvSpPr>
          <p:spPr>
            <a:xfrm>
              <a:off x="1996205" y="5577122"/>
              <a:ext cx="2709747" cy="286550"/>
            </a:xfrm>
            <a:prstGeom prst="rect">
              <a:avLst/>
            </a:prstGeom>
            <a:noFill/>
          </p:spPr>
          <p:txBody>
            <a:bodyPr wrap="square" rtlCol="0">
              <a:spAutoFit/>
            </a:bodyPr>
            <a:lstStyle/>
            <a:p>
              <a:r>
                <a:rPr lang="en-GB" sz="1600" b="1">
                  <a:solidFill>
                    <a:srgbClr val="000000"/>
                  </a:solidFill>
                </a:rPr>
                <a:t>Title I: </a:t>
              </a:r>
              <a:r>
                <a:rPr lang="en-GB" sz="1600">
                  <a:solidFill>
                    <a:schemeClr val="tx2"/>
                  </a:solidFill>
                </a:rPr>
                <a:t>Scope &amp; Definitions</a:t>
              </a:r>
            </a:p>
          </p:txBody>
        </p:sp>
        <p:sp>
          <p:nvSpPr>
            <p:cNvPr id="7" name="TextBox 6">
              <a:extLst>
                <a:ext uri="{FF2B5EF4-FFF2-40B4-BE49-F238E27FC236}">
                  <a16:creationId xmlns:a16="http://schemas.microsoft.com/office/drawing/2014/main" id="{201D8CDC-FB21-8111-BEBF-0A711D7963DF}"/>
                </a:ext>
              </a:extLst>
            </p:cNvPr>
            <p:cNvSpPr txBox="1"/>
            <p:nvPr/>
          </p:nvSpPr>
          <p:spPr>
            <a:xfrm>
              <a:off x="1531364" y="4857548"/>
              <a:ext cx="2709747" cy="286550"/>
            </a:xfrm>
            <a:prstGeom prst="rect">
              <a:avLst/>
            </a:prstGeom>
            <a:noFill/>
          </p:spPr>
          <p:txBody>
            <a:bodyPr wrap="square" rtlCol="0">
              <a:spAutoFit/>
            </a:bodyPr>
            <a:lstStyle/>
            <a:p>
              <a:r>
                <a:rPr lang="en-GB" sz="1600" b="1">
                  <a:solidFill>
                    <a:srgbClr val="000000"/>
                  </a:solidFill>
                </a:rPr>
                <a:t>Title II: </a:t>
              </a:r>
              <a:r>
                <a:rPr lang="en-GB" sz="1600">
                  <a:solidFill>
                    <a:schemeClr val="tx2"/>
                  </a:solidFill>
                </a:rPr>
                <a:t>Prohibited AI Practices</a:t>
              </a:r>
            </a:p>
          </p:txBody>
        </p:sp>
        <p:sp>
          <p:nvSpPr>
            <p:cNvPr id="9" name="TextBox 8">
              <a:extLst>
                <a:ext uri="{FF2B5EF4-FFF2-40B4-BE49-F238E27FC236}">
                  <a16:creationId xmlns:a16="http://schemas.microsoft.com/office/drawing/2014/main" id="{CC6EE113-0C8A-9D31-81DF-D9E268A294E9}"/>
                </a:ext>
              </a:extLst>
            </p:cNvPr>
            <p:cNvSpPr txBox="1"/>
            <p:nvPr/>
          </p:nvSpPr>
          <p:spPr>
            <a:xfrm>
              <a:off x="1345580" y="4062471"/>
              <a:ext cx="2709747" cy="286550"/>
            </a:xfrm>
            <a:prstGeom prst="rect">
              <a:avLst/>
            </a:prstGeom>
            <a:noFill/>
          </p:spPr>
          <p:txBody>
            <a:bodyPr wrap="square" rtlCol="0">
              <a:spAutoFit/>
            </a:bodyPr>
            <a:lstStyle/>
            <a:p>
              <a:r>
                <a:rPr lang="en-GB" sz="1600" b="1" dirty="0">
                  <a:solidFill>
                    <a:srgbClr val="000000"/>
                  </a:solidFill>
                </a:rPr>
                <a:t>Title III: </a:t>
              </a:r>
              <a:r>
                <a:rPr lang="en-GB" sz="1600" dirty="0">
                  <a:solidFill>
                    <a:schemeClr val="tx2"/>
                  </a:solidFill>
                </a:rPr>
                <a:t>High-Risk AI Systems</a:t>
              </a:r>
            </a:p>
          </p:txBody>
        </p:sp>
        <p:sp>
          <p:nvSpPr>
            <p:cNvPr id="10" name="TextBox 9">
              <a:extLst>
                <a:ext uri="{FF2B5EF4-FFF2-40B4-BE49-F238E27FC236}">
                  <a16:creationId xmlns:a16="http://schemas.microsoft.com/office/drawing/2014/main" id="{CD7ED071-AC39-05B7-BCEF-2C66777B66D4}"/>
                </a:ext>
              </a:extLst>
            </p:cNvPr>
            <p:cNvSpPr txBox="1"/>
            <p:nvPr/>
          </p:nvSpPr>
          <p:spPr>
            <a:xfrm>
              <a:off x="1877052" y="3158230"/>
              <a:ext cx="2364059" cy="703351"/>
            </a:xfrm>
            <a:prstGeom prst="rect">
              <a:avLst/>
            </a:prstGeom>
            <a:noFill/>
          </p:spPr>
          <p:txBody>
            <a:bodyPr wrap="square" rtlCol="0">
              <a:spAutoFit/>
            </a:bodyPr>
            <a:lstStyle/>
            <a:p>
              <a:r>
                <a:rPr lang="en-GB" sz="1600" b="1" dirty="0">
                  <a:solidFill>
                    <a:srgbClr val="000000"/>
                  </a:solidFill>
                </a:rPr>
                <a:t>Title IV: </a:t>
              </a:r>
              <a:r>
                <a:rPr lang="en-GB" sz="1600" dirty="0">
                  <a:solidFill>
                    <a:schemeClr val="tx2"/>
                  </a:solidFill>
                </a:rPr>
                <a:t>Transparency Obligations for Providers and Deployers </a:t>
              </a:r>
            </a:p>
          </p:txBody>
        </p:sp>
        <p:sp>
          <p:nvSpPr>
            <p:cNvPr id="11" name="TextBox 10">
              <a:extLst>
                <a:ext uri="{FF2B5EF4-FFF2-40B4-BE49-F238E27FC236}">
                  <a16:creationId xmlns:a16="http://schemas.microsoft.com/office/drawing/2014/main" id="{3E05765F-9CC8-5875-575D-80DB3A65FBAB}"/>
                </a:ext>
              </a:extLst>
            </p:cNvPr>
            <p:cNvSpPr txBox="1"/>
            <p:nvPr/>
          </p:nvSpPr>
          <p:spPr>
            <a:xfrm>
              <a:off x="7110857" y="3224905"/>
              <a:ext cx="2709747" cy="494950"/>
            </a:xfrm>
            <a:prstGeom prst="rect">
              <a:avLst/>
            </a:prstGeom>
            <a:noFill/>
          </p:spPr>
          <p:txBody>
            <a:bodyPr wrap="square" rtlCol="0">
              <a:spAutoFit/>
            </a:bodyPr>
            <a:lstStyle/>
            <a:p>
              <a:r>
                <a:rPr lang="en-GB" sz="1600" b="1">
                  <a:solidFill>
                    <a:srgbClr val="000000"/>
                  </a:solidFill>
                </a:rPr>
                <a:t>Title V: </a:t>
              </a:r>
              <a:r>
                <a:rPr lang="en-GB" sz="1600">
                  <a:solidFill>
                    <a:schemeClr val="tx2"/>
                  </a:solidFill>
                </a:rPr>
                <a:t>Measures in Support of Innovation</a:t>
              </a:r>
            </a:p>
          </p:txBody>
        </p:sp>
        <p:sp>
          <p:nvSpPr>
            <p:cNvPr id="12" name="TextBox 11">
              <a:extLst>
                <a:ext uri="{FF2B5EF4-FFF2-40B4-BE49-F238E27FC236}">
                  <a16:creationId xmlns:a16="http://schemas.microsoft.com/office/drawing/2014/main" id="{4E27287D-451F-0DB9-286D-4FFA4F940CFA}"/>
                </a:ext>
              </a:extLst>
            </p:cNvPr>
            <p:cNvSpPr txBox="1"/>
            <p:nvPr/>
          </p:nvSpPr>
          <p:spPr>
            <a:xfrm>
              <a:off x="7486049" y="4062471"/>
              <a:ext cx="2709747" cy="494950"/>
            </a:xfrm>
            <a:prstGeom prst="rect">
              <a:avLst/>
            </a:prstGeom>
            <a:noFill/>
          </p:spPr>
          <p:txBody>
            <a:bodyPr wrap="square" rtlCol="0">
              <a:spAutoFit/>
            </a:bodyPr>
            <a:lstStyle/>
            <a:p>
              <a:r>
                <a:rPr lang="en-GB" sz="1600" b="1">
                  <a:solidFill>
                    <a:srgbClr val="000000"/>
                  </a:solidFill>
                </a:rPr>
                <a:t>Title VI-VII: </a:t>
              </a:r>
              <a:r>
                <a:rPr lang="en-GB" sz="1600">
                  <a:solidFill>
                    <a:schemeClr val="tx2"/>
                  </a:solidFill>
                </a:rPr>
                <a:t>Governance &amp; Implementation </a:t>
              </a:r>
            </a:p>
          </p:txBody>
        </p:sp>
        <p:sp>
          <p:nvSpPr>
            <p:cNvPr id="13" name="TextBox 12">
              <a:extLst>
                <a:ext uri="{FF2B5EF4-FFF2-40B4-BE49-F238E27FC236}">
                  <a16:creationId xmlns:a16="http://schemas.microsoft.com/office/drawing/2014/main" id="{BF91771B-622A-E5AB-3E51-725BFFBC13B7}"/>
                </a:ext>
              </a:extLst>
            </p:cNvPr>
            <p:cNvSpPr txBox="1"/>
            <p:nvPr/>
          </p:nvSpPr>
          <p:spPr>
            <a:xfrm>
              <a:off x="7496038" y="4857548"/>
              <a:ext cx="2709747" cy="286550"/>
            </a:xfrm>
            <a:prstGeom prst="rect">
              <a:avLst/>
            </a:prstGeom>
            <a:noFill/>
          </p:spPr>
          <p:txBody>
            <a:bodyPr wrap="square" rtlCol="0">
              <a:spAutoFit/>
            </a:bodyPr>
            <a:lstStyle/>
            <a:p>
              <a:r>
                <a:rPr lang="en-GB" sz="1600" b="1">
                  <a:solidFill>
                    <a:srgbClr val="000000"/>
                  </a:solidFill>
                </a:rPr>
                <a:t>Title IX: </a:t>
              </a:r>
              <a:r>
                <a:rPr lang="en-GB" sz="1600">
                  <a:solidFill>
                    <a:schemeClr val="tx2"/>
                  </a:solidFill>
                </a:rPr>
                <a:t>Codes of Conduct</a:t>
              </a:r>
            </a:p>
          </p:txBody>
        </p:sp>
        <p:sp>
          <p:nvSpPr>
            <p:cNvPr id="17" name="TextBox 16">
              <a:extLst>
                <a:ext uri="{FF2B5EF4-FFF2-40B4-BE49-F238E27FC236}">
                  <a16:creationId xmlns:a16="http://schemas.microsoft.com/office/drawing/2014/main" id="{A101C5CB-BAE7-B02D-F1FF-1ACE923C539B}"/>
                </a:ext>
              </a:extLst>
            </p:cNvPr>
            <p:cNvSpPr txBox="1"/>
            <p:nvPr/>
          </p:nvSpPr>
          <p:spPr>
            <a:xfrm>
              <a:off x="7050919" y="5577122"/>
              <a:ext cx="2709747" cy="286550"/>
            </a:xfrm>
            <a:prstGeom prst="rect">
              <a:avLst/>
            </a:prstGeom>
            <a:noFill/>
          </p:spPr>
          <p:txBody>
            <a:bodyPr wrap="square" rtlCol="0">
              <a:spAutoFit/>
            </a:bodyPr>
            <a:lstStyle/>
            <a:p>
              <a:r>
                <a:rPr lang="en-GB" sz="1600" b="1">
                  <a:solidFill>
                    <a:srgbClr val="000000"/>
                  </a:solidFill>
                </a:rPr>
                <a:t>Title X: </a:t>
              </a:r>
              <a:r>
                <a:rPr lang="en-GB" sz="1600">
                  <a:solidFill>
                    <a:schemeClr val="tx2"/>
                  </a:solidFill>
                </a:rPr>
                <a:t>Penalties</a:t>
              </a:r>
            </a:p>
          </p:txBody>
        </p:sp>
      </p:grpSp>
      <p:pic>
        <p:nvPicPr>
          <p:cNvPr id="2" name="Picture 2">
            <a:extLst>
              <a:ext uri="{FF2B5EF4-FFF2-40B4-BE49-F238E27FC236}">
                <a16:creationId xmlns:a16="http://schemas.microsoft.com/office/drawing/2014/main" id="{02E64BA3-8D24-7AD4-BE25-5587493BD6EA}"/>
              </a:ext>
            </a:extLst>
          </p:cNvPr>
          <p:cNvPicPr>
            <a:picLocks noChangeAspect="1" noChangeArrowheads="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10675058" y="373735"/>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77139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05630B9D-9827-7C69-116C-ECAC335993B5}"/>
              </a:ext>
            </a:extLst>
          </p:cNvPr>
          <p:cNvGraphicFramePr>
            <a:graphicFrameLocks noGrp="1"/>
          </p:cNvGraphicFramePr>
          <p:nvPr>
            <p:ph sz="quarter" idx="18"/>
          </p:nvPr>
        </p:nvGraphicFramePr>
        <p:xfrm>
          <a:off x="1447086" y="1667330"/>
          <a:ext cx="6481761" cy="4425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23B05CFC-591F-1E0C-B13D-12B782B961B5}"/>
              </a:ext>
            </a:extLst>
          </p:cNvPr>
          <p:cNvSpPr>
            <a:spLocks noGrp="1"/>
          </p:cNvSpPr>
          <p:nvPr>
            <p:ph type="sldNum" sz="quarter" idx="12"/>
          </p:nvPr>
        </p:nvSpPr>
        <p:spPr/>
        <p:txBody>
          <a:bodyPr/>
          <a:lstStyle/>
          <a:p>
            <a:fld id="{F9591D4C-BB8F-AE46-BE73-C616F30BBC5B}" type="slidenum">
              <a:rPr lang="en-US" smtClean="0"/>
              <a:pPr/>
              <a:t>15</a:t>
            </a:fld>
            <a:endParaRPr lang="en-US"/>
          </a:p>
        </p:txBody>
      </p:sp>
      <p:sp>
        <p:nvSpPr>
          <p:cNvPr id="5" name="Text Placeholder 4">
            <a:extLst>
              <a:ext uri="{FF2B5EF4-FFF2-40B4-BE49-F238E27FC236}">
                <a16:creationId xmlns:a16="http://schemas.microsoft.com/office/drawing/2014/main" id="{A9E39FAD-DAF7-0178-8F94-26D8AA6FDDA7}"/>
              </a:ext>
            </a:extLst>
          </p:cNvPr>
          <p:cNvSpPr>
            <a:spLocks noGrp="1"/>
          </p:cNvSpPr>
          <p:nvPr>
            <p:ph type="body" sz="quarter" idx="15"/>
          </p:nvPr>
        </p:nvSpPr>
        <p:spPr>
          <a:xfrm>
            <a:off x="515938" y="899161"/>
            <a:ext cx="10125105" cy="237308"/>
          </a:xfrm>
        </p:spPr>
        <p:txBody>
          <a:bodyPr/>
          <a:lstStyle/>
          <a:p>
            <a:r>
              <a:rPr lang="en-GB"/>
              <a:t>These elements apply at all times if you fall within the scope of the AI Act. In other words, even if you aren’t performing a prohibited activity, or using a high-risk AI system or a foundation model, these key concepts will apply</a:t>
            </a:r>
            <a:endParaRPr lang="en-US"/>
          </a:p>
        </p:txBody>
      </p:sp>
      <p:sp>
        <p:nvSpPr>
          <p:cNvPr id="6" name="Title 5">
            <a:extLst>
              <a:ext uri="{FF2B5EF4-FFF2-40B4-BE49-F238E27FC236}">
                <a16:creationId xmlns:a16="http://schemas.microsoft.com/office/drawing/2014/main" id="{20702F59-56C8-E634-F972-4323E6B88DA1}"/>
              </a:ext>
            </a:extLst>
          </p:cNvPr>
          <p:cNvSpPr>
            <a:spLocks noGrp="1"/>
          </p:cNvSpPr>
          <p:nvPr>
            <p:ph type="title"/>
          </p:nvPr>
        </p:nvSpPr>
        <p:spPr/>
        <p:txBody>
          <a:bodyPr/>
          <a:lstStyle/>
          <a:p>
            <a:r>
              <a:rPr lang="en-GB"/>
              <a:t>General Principles</a:t>
            </a:r>
            <a:endParaRPr lang="en-US"/>
          </a:p>
        </p:txBody>
      </p:sp>
      <p:pic>
        <p:nvPicPr>
          <p:cNvPr id="8" name="Graphic 7" descr="Comment Important outline">
            <a:extLst>
              <a:ext uri="{FF2B5EF4-FFF2-40B4-BE49-F238E27FC236}">
                <a16:creationId xmlns:a16="http://schemas.microsoft.com/office/drawing/2014/main" id="{81743876-72B0-CB56-0D02-61E03F74F5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92708" y="1860590"/>
            <a:ext cx="886768" cy="888463"/>
          </a:xfrm>
          <a:prstGeom prst="rect">
            <a:avLst/>
          </a:prstGeom>
        </p:spPr>
      </p:pic>
      <p:sp>
        <p:nvSpPr>
          <p:cNvPr id="9" name="TextBox 8">
            <a:extLst>
              <a:ext uri="{FF2B5EF4-FFF2-40B4-BE49-F238E27FC236}">
                <a16:creationId xmlns:a16="http://schemas.microsoft.com/office/drawing/2014/main" id="{33A0FC17-59B2-6C6C-5164-AD79669A1A25}"/>
              </a:ext>
            </a:extLst>
          </p:cNvPr>
          <p:cNvSpPr txBox="1"/>
          <p:nvPr/>
        </p:nvSpPr>
        <p:spPr>
          <a:xfrm>
            <a:off x="7631142" y="2652804"/>
            <a:ext cx="3009901" cy="3046988"/>
          </a:xfrm>
          <a:prstGeom prst="rect">
            <a:avLst/>
          </a:prstGeom>
          <a:noFill/>
        </p:spPr>
        <p:txBody>
          <a:bodyPr wrap="square" rtlCol="0">
            <a:spAutoFit/>
          </a:bodyPr>
          <a:lstStyle/>
          <a:p>
            <a:pPr algn="ctr"/>
            <a:r>
              <a:rPr lang="en-GB" sz="1600" i="1"/>
              <a:t>AI literacy includes teaching the basic notions and skills about AI systems, different types of products and uses, including their risks and benefits to staff and other users of the system. AI literacy can be considered a general minimum level of awareness and understanding of the risks and potential issues associated with using AI systems</a:t>
            </a:r>
          </a:p>
        </p:txBody>
      </p:sp>
      <p:pic>
        <p:nvPicPr>
          <p:cNvPr id="2" name="Picture 2">
            <a:extLst>
              <a:ext uri="{FF2B5EF4-FFF2-40B4-BE49-F238E27FC236}">
                <a16:creationId xmlns:a16="http://schemas.microsoft.com/office/drawing/2014/main" id="{2BADD023-3A92-4B13-FF5C-BF40633AC503}"/>
              </a:ext>
            </a:extLst>
          </p:cNvPr>
          <p:cNvPicPr>
            <a:picLocks noChangeAspect="1" noChangeArrowheads="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bwMode="auto">
          <a:xfrm>
            <a:off x="10675058" y="349545"/>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7880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B6D2D29-B78A-4655-ADF9-74844D143896}"/>
              </a:ext>
            </a:extLst>
          </p:cNvPr>
          <p:cNvSpPr>
            <a:spLocks noGrp="1"/>
          </p:cNvSpPr>
          <p:nvPr>
            <p:ph type="sldNum" sz="quarter" idx="12"/>
          </p:nvPr>
        </p:nvSpPr>
        <p:spPr/>
        <p:txBody>
          <a:bodyPr/>
          <a:lstStyle/>
          <a:p>
            <a:fld id="{F9591D4C-BB8F-AE46-BE73-C616F30BBC5B}" type="slidenum">
              <a:rPr lang="en-US" smtClean="0"/>
              <a:pPr/>
              <a:t>16</a:t>
            </a:fld>
            <a:endParaRPr lang="en-US"/>
          </a:p>
        </p:txBody>
      </p:sp>
      <p:sp>
        <p:nvSpPr>
          <p:cNvPr id="8" name="Text Placeholder 7">
            <a:extLst>
              <a:ext uri="{FF2B5EF4-FFF2-40B4-BE49-F238E27FC236}">
                <a16:creationId xmlns:a16="http://schemas.microsoft.com/office/drawing/2014/main" id="{45B51A34-F108-4E59-8157-FF421153B660}"/>
              </a:ext>
            </a:extLst>
          </p:cNvPr>
          <p:cNvSpPr>
            <a:spLocks noGrp="1"/>
          </p:cNvSpPr>
          <p:nvPr>
            <p:ph type="body" sz="quarter" idx="15"/>
          </p:nvPr>
        </p:nvSpPr>
        <p:spPr/>
        <p:txBody>
          <a:bodyPr/>
          <a:lstStyle/>
          <a:p>
            <a:r>
              <a:rPr lang="en-GB"/>
              <a:t>A comprehensive, risk-based Regulation for persons selling (as a product or service) and using AI</a:t>
            </a:r>
          </a:p>
        </p:txBody>
      </p:sp>
      <p:sp>
        <p:nvSpPr>
          <p:cNvPr id="6" name="Title 5">
            <a:extLst>
              <a:ext uri="{FF2B5EF4-FFF2-40B4-BE49-F238E27FC236}">
                <a16:creationId xmlns:a16="http://schemas.microsoft.com/office/drawing/2014/main" id="{3409F8A9-4309-46A3-9C59-BAD7BC049E1C}"/>
              </a:ext>
            </a:extLst>
          </p:cNvPr>
          <p:cNvSpPr>
            <a:spLocks noGrp="1"/>
          </p:cNvSpPr>
          <p:nvPr>
            <p:ph type="title"/>
          </p:nvPr>
        </p:nvSpPr>
        <p:spPr/>
        <p:txBody>
          <a:bodyPr/>
          <a:lstStyle/>
          <a:p>
            <a:r>
              <a:rPr lang="en-GB"/>
              <a:t>EU AI Act</a:t>
            </a:r>
          </a:p>
        </p:txBody>
      </p:sp>
      <p:graphicFrame>
        <p:nvGraphicFramePr>
          <p:cNvPr id="47" name="Table 47">
            <a:extLst>
              <a:ext uri="{FF2B5EF4-FFF2-40B4-BE49-F238E27FC236}">
                <a16:creationId xmlns:a16="http://schemas.microsoft.com/office/drawing/2014/main" id="{78740C09-A7C1-D8DF-E6DF-022C7F64A8DA}"/>
              </a:ext>
            </a:extLst>
          </p:cNvPr>
          <p:cNvGraphicFramePr>
            <a:graphicFrameLocks noGrp="1"/>
          </p:cNvGraphicFramePr>
          <p:nvPr/>
        </p:nvGraphicFramePr>
        <p:xfrm>
          <a:off x="8685434" y="1420136"/>
          <a:ext cx="3010561" cy="2551468"/>
        </p:xfrm>
        <a:graphic>
          <a:graphicData uri="http://schemas.openxmlformats.org/drawingml/2006/table">
            <a:tbl>
              <a:tblPr firstRow="1" bandRow="1">
                <a:tableStyleId>{5C22544A-7EE6-4342-B048-85BDC9FD1C3A}</a:tableStyleId>
              </a:tblPr>
              <a:tblGrid>
                <a:gridCol w="1161705">
                  <a:extLst>
                    <a:ext uri="{9D8B030D-6E8A-4147-A177-3AD203B41FA5}">
                      <a16:colId xmlns:a16="http://schemas.microsoft.com/office/drawing/2014/main" val="1028361413"/>
                    </a:ext>
                  </a:extLst>
                </a:gridCol>
                <a:gridCol w="952716">
                  <a:extLst>
                    <a:ext uri="{9D8B030D-6E8A-4147-A177-3AD203B41FA5}">
                      <a16:colId xmlns:a16="http://schemas.microsoft.com/office/drawing/2014/main" val="2904335294"/>
                    </a:ext>
                  </a:extLst>
                </a:gridCol>
                <a:gridCol w="896140">
                  <a:extLst>
                    <a:ext uri="{9D8B030D-6E8A-4147-A177-3AD203B41FA5}">
                      <a16:colId xmlns:a16="http://schemas.microsoft.com/office/drawing/2014/main" val="1631448682"/>
                    </a:ext>
                  </a:extLst>
                </a:gridCol>
              </a:tblGrid>
              <a:tr h="888457">
                <a:tc>
                  <a:txBody>
                    <a:bodyPr/>
                    <a:lstStyle/>
                    <a:p>
                      <a:r>
                        <a:rPr lang="en-GB" sz="1100"/>
                        <a:t>Activity</a:t>
                      </a:r>
                    </a:p>
                  </a:txBody>
                  <a:tcPr/>
                </a:tc>
                <a:tc>
                  <a:txBody>
                    <a:bodyPr/>
                    <a:lstStyle/>
                    <a:p>
                      <a:r>
                        <a:rPr lang="en-GB" sz="1100"/>
                        <a:t>% total worldwide annual turnover</a:t>
                      </a:r>
                    </a:p>
                  </a:txBody>
                  <a:tcPr/>
                </a:tc>
                <a:tc>
                  <a:txBody>
                    <a:bodyPr/>
                    <a:lstStyle/>
                    <a:p>
                      <a:r>
                        <a:rPr lang="en-GB" sz="1100"/>
                        <a:t>Euro fine</a:t>
                      </a:r>
                    </a:p>
                  </a:txBody>
                  <a:tcPr/>
                </a:tc>
                <a:extLst>
                  <a:ext uri="{0D108BD9-81ED-4DB2-BD59-A6C34878D82A}">
                    <a16:rowId xmlns:a16="http://schemas.microsoft.com/office/drawing/2014/main" val="376609554"/>
                  </a:ext>
                </a:extLst>
              </a:tr>
              <a:tr h="554337">
                <a:tc>
                  <a:txBody>
                    <a:bodyPr/>
                    <a:lstStyle/>
                    <a:p>
                      <a:r>
                        <a:rPr lang="en-GB" sz="1100"/>
                        <a:t>Prohibited practices</a:t>
                      </a:r>
                    </a:p>
                  </a:txBody>
                  <a:tcPr/>
                </a:tc>
                <a:tc>
                  <a:txBody>
                    <a:bodyPr/>
                    <a:lstStyle/>
                    <a:p>
                      <a:r>
                        <a:rPr lang="en-GB" sz="1100"/>
                        <a:t>7%</a:t>
                      </a:r>
                    </a:p>
                  </a:txBody>
                  <a:tcPr/>
                </a:tc>
                <a:tc>
                  <a:txBody>
                    <a:bodyPr/>
                    <a:lstStyle/>
                    <a:p>
                      <a:r>
                        <a:rPr lang="en-GB" sz="1100"/>
                        <a:t>35,000,000</a:t>
                      </a:r>
                    </a:p>
                  </a:txBody>
                  <a:tcPr/>
                </a:tc>
                <a:extLst>
                  <a:ext uri="{0D108BD9-81ED-4DB2-BD59-A6C34878D82A}">
                    <a16:rowId xmlns:a16="http://schemas.microsoft.com/office/drawing/2014/main" val="3144752835"/>
                  </a:ext>
                </a:extLst>
              </a:tr>
              <a:tr h="554337">
                <a:tc>
                  <a:txBody>
                    <a:bodyPr/>
                    <a:lstStyle/>
                    <a:p>
                      <a:r>
                        <a:rPr lang="en-GB" sz="1100"/>
                        <a:t>High risk AI systems</a:t>
                      </a:r>
                    </a:p>
                  </a:txBody>
                  <a:tcPr/>
                </a:tc>
                <a:tc>
                  <a:txBody>
                    <a:bodyPr/>
                    <a:lstStyle/>
                    <a:p>
                      <a:r>
                        <a:rPr lang="en-GB" sz="1100"/>
                        <a:t>3%</a:t>
                      </a:r>
                    </a:p>
                  </a:txBody>
                  <a:tcPr/>
                </a:tc>
                <a:tc>
                  <a:txBody>
                    <a:bodyPr/>
                    <a:lstStyle/>
                    <a:p>
                      <a:r>
                        <a:rPr lang="en-GB" sz="1100"/>
                        <a:t>15,000,000</a:t>
                      </a:r>
                    </a:p>
                  </a:txBody>
                  <a:tcPr/>
                </a:tc>
                <a:extLst>
                  <a:ext uri="{0D108BD9-81ED-4DB2-BD59-A6C34878D82A}">
                    <a16:rowId xmlns:a16="http://schemas.microsoft.com/office/drawing/2014/main" val="2512526928"/>
                  </a:ext>
                </a:extLst>
              </a:tr>
              <a:tr h="554337">
                <a:tc>
                  <a:txBody>
                    <a:bodyPr/>
                    <a:lstStyle/>
                    <a:p>
                      <a:r>
                        <a:rPr lang="en-GB" sz="1100"/>
                        <a:t>Other breaches </a:t>
                      </a:r>
                    </a:p>
                  </a:txBody>
                  <a:tcPr/>
                </a:tc>
                <a:tc>
                  <a:txBody>
                    <a:bodyPr/>
                    <a:lstStyle/>
                    <a:p>
                      <a:r>
                        <a:rPr lang="en-GB" sz="1100"/>
                        <a:t>1%</a:t>
                      </a:r>
                    </a:p>
                  </a:txBody>
                  <a:tcPr/>
                </a:tc>
                <a:tc>
                  <a:txBody>
                    <a:bodyPr/>
                    <a:lstStyle/>
                    <a:p>
                      <a:r>
                        <a:rPr lang="en-GB" sz="1100"/>
                        <a:t>7,500,000</a:t>
                      </a:r>
                    </a:p>
                  </a:txBody>
                  <a:tcPr/>
                </a:tc>
                <a:extLst>
                  <a:ext uri="{0D108BD9-81ED-4DB2-BD59-A6C34878D82A}">
                    <a16:rowId xmlns:a16="http://schemas.microsoft.com/office/drawing/2014/main" val="2612520025"/>
                  </a:ext>
                </a:extLst>
              </a:tr>
            </a:tbl>
          </a:graphicData>
        </a:graphic>
      </p:graphicFrame>
      <p:graphicFrame>
        <p:nvGraphicFramePr>
          <p:cNvPr id="49" name="Table 47">
            <a:extLst>
              <a:ext uri="{FF2B5EF4-FFF2-40B4-BE49-F238E27FC236}">
                <a16:creationId xmlns:a16="http://schemas.microsoft.com/office/drawing/2014/main" id="{9344E6AD-2128-57F4-2244-5520DCD9B79A}"/>
              </a:ext>
            </a:extLst>
          </p:cNvPr>
          <p:cNvGraphicFramePr>
            <a:graphicFrameLocks noGrp="1"/>
          </p:cNvGraphicFramePr>
          <p:nvPr/>
        </p:nvGraphicFramePr>
        <p:xfrm>
          <a:off x="537523" y="1429135"/>
          <a:ext cx="7424448" cy="2616200"/>
        </p:xfrm>
        <a:graphic>
          <a:graphicData uri="http://schemas.openxmlformats.org/drawingml/2006/table">
            <a:tbl>
              <a:tblPr firstRow="1" bandRow="1">
                <a:tableStyleId>{5C22544A-7EE6-4342-B048-85BDC9FD1C3A}</a:tableStyleId>
              </a:tblPr>
              <a:tblGrid>
                <a:gridCol w="1470426">
                  <a:extLst>
                    <a:ext uri="{9D8B030D-6E8A-4147-A177-3AD203B41FA5}">
                      <a16:colId xmlns:a16="http://schemas.microsoft.com/office/drawing/2014/main" val="1028361413"/>
                    </a:ext>
                  </a:extLst>
                </a:gridCol>
                <a:gridCol w="5954022">
                  <a:extLst>
                    <a:ext uri="{9D8B030D-6E8A-4147-A177-3AD203B41FA5}">
                      <a16:colId xmlns:a16="http://schemas.microsoft.com/office/drawing/2014/main" val="2904335294"/>
                    </a:ext>
                  </a:extLst>
                </a:gridCol>
              </a:tblGrid>
              <a:tr h="370840">
                <a:tc>
                  <a:txBody>
                    <a:bodyPr/>
                    <a:lstStyle/>
                    <a:p>
                      <a:r>
                        <a:rPr lang="en-GB" sz="1100"/>
                        <a:t>Key definitions</a:t>
                      </a:r>
                    </a:p>
                  </a:txBody>
                  <a:tcPr/>
                </a:tc>
                <a:tc>
                  <a:txBody>
                    <a:bodyPr/>
                    <a:lstStyle/>
                    <a:p>
                      <a:r>
                        <a:rPr lang="en-GB" sz="1100"/>
                        <a:t>% total worldwide annual turnover</a:t>
                      </a:r>
                    </a:p>
                  </a:txBody>
                  <a:tcPr/>
                </a:tc>
                <a:extLst>
                  <a:ext uri="{0D108BD9-81ED-4DB2-BD59-A6C34878D82A}">
                    <a16:rowId xmlns:a16="http://schemas.microsoft.com/office/drawing/2014/main" val="376609554"/>
                  </a:ext>
                </a:extLst>
              </a:tr>
              <a:tr h="370840">
                <a:tc>
                  <a:txBody>
                    <a:bodyPr/>
                    <a:lstStyle/>
                    <a:p>
                      <a:r>
                        <a:rPr lang="en-GB" sz="1100"/>
                        <a:t>Providers</a:t>
                      </a:r>
                    </a:p>
                  </a:txBody>
                  <a:tcPr/>
                </a:tc>
                <a:tc>
                  <a:txBody>
                    <a:bodyPr/>
                    <a:lstStyle/>
                    <a:p>
                      <a:r>
                        <a:rPr lang="en-GB" sz="1100"/>
                        <a:t>Organisations that creates or commissions the creation of AI systems or models, and then markets or uses them, regardless of whether they charge for it or not.</a:t>
                      </a:r>
                    </a:p>
                  </a:txBody>
                  <a:tcPr/>
                </a:tc>
                <a:extLst>
                  <a:ext uri="{0D108BD9-81ED-4DB2-BD59-A6C34878D82A}">
                    <a16:rowId xmlns:a16="http://schemas.microsoft.com/office/drawing/2014/main" val="3144752835"/>
                  </a:ext>
                </a:extLst>
              </a:tr>
              <a:tr h="370840">
                <a:tc>
                  <a:txBody>
                    <a:bodyPr/>
                    <a:lstStyle/>
                    <a:p>
                      <a:r>
                        <a:rPr lang="en-GB" sz="1100"/>
                        <a:t>Deployers</a:t>
                      </a:r>
                    </a:p>
                  </a:txBody>
                  <a:tcPr/>
                </a:tc>
                <a:tc>
                  <a:txBody>
                    <a:bodyPr/>
                    <a:lstStyle/>
                    <a:p>
                      <a:r>
                        <a:rPr lang="en-GB" sz="1100"/>
                        <a:t>Organisations that uses an AI system for any purpose other than personal, non-professional activities.</a:t>
                      </a:r>
                    </a:p>
                  </a:txBody>
                  <a:tcPr/>
                </a:tc>
                <a:extLst>
                  <a:ext uri="{0D108BD9-81ED-4DB2-BD59-A6C34878D82A}">
                    <a16:rowId xmlns:a16="http://schemas.microsoft.com/office/drawing/2014/main" val="2512526928"/>
                  </a:ext>
                </a:extLst>
              </a:tr>
              <a:tr h="370840">
                <a:tc>
                  <a:txBody>
                    <a:bodyPr/>
                    <a:lstStyle/>
                    <a:p>
                      <a:r>
                        <a:rPr lang="en-GB" sz="1100"/>
                        <a:t>General Purpose AI</a:t>
                      </a:r>
                    </a:p>
                  </a:txBody>
                  <a:tcPr/>
                </a:tc>
                <a:tc>
                  <a:txBody>
                    <a:bodyPr/>
                    <a:lstStyle/>
                    <a:p>
                      <a:r>
                        <a:rPr lang="en-GB" sz="1100"/>
                        <a:t>An AI that can handle many different tasks effectively, developed with extensive data and self-learning techniques. It's versatile for various applications but doesn't include models still in research or development phases</a:t>
                      </a:r>
                    </a:p>
                  </a:txBody>
                  <a:tcPr/>
                </a:tc>
                <a:extLst>
                  <a:ext uri="{0D108BD9-81ED-4DB2-BD59-A6C34878D82A}">
                    <a16:rowId xmlns:a16="http://schemas.microsoft.com/office/drawing/2014/main" val="2612520025"/>
                  </a:ext>
                </a:extLst>
              </a:tr>
              <a:tr h="370840">
                <a:tc>
                  <a:txBody>
                    <a:bodyPr/>
                    <a:lstStyle/>
                    <a:p>
                      <a:r>
                        <a:rPr lang="en-GB" sz="1100"/>
                        <a:t>Prohibited Practices</a:t>
                      </a:r>
                    </a:p>
                  </a:txBody>
                  <a:tcPr/>
                </a:tc>
                <a:tc>
                  <a:txBody>
                    <a:bodyPr/>
                    <a:lstStyle/>
                    <a:p>
                      <a:r>
                        <a:rPr lang="en-GB" sz="1100"/>
                        <a:t>Very harmful AI use cases that are entirely prohibited under the AI Act.</a:t>
                      </a:r>
                    </a:p>
                  </a:txBody>
                  <a:tcPr/>
                </a:tc>
                <a:extLst>
                  <a:ext uri="{0D108BD9-81ED-4DB2-BD59-A6C34878D82A}">
                    <a16:rowId xmlns:a16="http://schemas.microsoft.com/office/drawing/2014/main" val="3332976088"/>
                  </a:ext>
                </a:extLst>
              </a:tr>
              <a:tr h="370840">
                <a:tc>
                  <a:txBody>
                    <a:bodyPr/>
                    <a:lstStyle/>
                    <a:p>
                      <a:r>
                        <a:rPr lang="en-GB" sz="1100"/>
                        <a:t>High Risk </a:t>
                      </a:r>
                    </a:p>
                  </a:txBody>
                  <a:tcPr/>
                </a:tc>
                <a:tc>
                  <a:txBody>
                    <a:bodyPr/>
                    <a:lstStyle/>
                    <a:p>
                      <a:r>
                        <a:rPr lang="en-GB" sz="1100"/>
                        <a:t>Potential harmful AI use cases that required significant governance and compliance controls to manage.</a:t>
                      </a:r>
                    </a:p>
                  </a:txBody>
                  <a:tcPr/>
                </a:tc>
                <a:extLst>
                  <a:ext uri="{0D108BD9-81ED-4DB2-BD59-A6C34878D82A}">
                    <a16:rowId xmlns:a16="http://schemas.microsoft.com/office/drawing/2014/main" val="3794334399"/>
                  </a:ext>
                </a:extLst>
              </a:tr>
            </a:tbl>
          </a:graphicData>
        </a:graphic>
      </p:graphicFrame>
      <p:graphicFrame>
        <p:nvGraphicFramePr>
          <p:cNvPr id="15" name="Chart 14">
            <a:extLst>
              <a:ext uri="{FF2B5EF4-FFF2-40B4-BE49-F238E27FC236}">
                <a16:creationId xmlns:a16="http://schemas.microsoft.com/office/drawing/2014/main" id="{E4419B1B-5AEC-9422-6F19-C544D429C840}"/>
              </a:ext>
            </a:extLst>
          </p:cNvPr>
          <p:cNvGraphicFramePr/>
          <p:nvPr/>
        </p:nvGraphicFramePr>
        <p:xfrm>
          <a:off x="569267" y="4190745"/>
          <a:ext cx="11106796" cy="2269227"/>
        </p:xfrm>
        <a:graphic>
          <a:graphicData uri="http://schemas.openxmlformats.org/drawingml/2006/chart">
            <c:chart xmlns:c="http://schemas.openxmlformats.org/drawingml/2006/chart" xmlns:r="http://schemas.openxmlformats.org/officeDocument/2006/relationships" r:id="rId2"/>
          </a:graphicData>
        </a:graphic>
      </p:graphicFrame>
      <p:pic>
        <p:nvPicPr>
          <p:cNvPr id="2" name="Picture 2">
            <a:extLst>
              <a:ext uri="{FF2B5EF4-FFF2-40B4-BE49-F238E27FC236}">
                <a16:creationId xmlns:a16="http://schemas.microsoft.com/office/drawing/2014/main" id="{685F42F0-CDBF-5DFB-7F12-432918724329}"/>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auto">
          <a:xfrm>
            <a:off x="10675058" y="325354"/>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5457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3278FAE-9F01-46D0-99E3-827FF814BFF5}"/>
              </a:ext>
            </a:extLst>
          </p:cNvPr>
          <p:cNvSpPr>
            <a:spLocks noGrp="1"/>
          </p:cNvSpPr>
          <p:nvPr>
            <p:ph type="sldNum" sz="quarter" idx="12"/>
          </p:nvPr>
        </p:nvSpPr>
        <p:spPr/>
        <p:txBody>
          <a:bodyPr/>
          <a:lstStyle/>
          <a:p>
            <a:fld id="{F9591D4C-BB8F-AE46-BE73-C616F30BBC5B}" type="slidenum">
              <a:rPr lang="en-US" smtClean="0"/>
              <a:pPr/>
              <a:t>17</a:t>
            </a:fld>
            <a:endParaRPr lang="en-US"/>
          </a:p>
        </p:txBody>
      </p:sp>
      <p:sp>
        <p:nvSpPr>
          <p:cNvPr id="6" name="Title 5">
            <a:extLst>
              <a:ext uri="{FF2B5EF4-FFF2-40B4-BE49-F238E27FC236}">
                <a16:creationId xmlns:a16="http://schemas.microsoft.com/office/drawing/2014/main" id="{9036F43C-1888-497D-A29A-0313520083CC}"/>
              </a:ext>
            </a:extLst>
          </p:cNvPr>
          <p:cNvSpPr>
            <a:spLocks noGrp="1"/>
          </p:cNvSpPr>
          <p:nvPr>
            <p:ph type="title"/>
          </p:nvPr>
        </p:nvSpPr>
        <p:spPr/>
        <p:txBody>
          <a:bodyPr/>
          <a:lstStyle/>
          <a:p>
            <a:r>
              <a:rPr lang="en-GB"/>
              <a:t>Prohibited AI Practices </a:t>
            </a:r>
            <a:endParaRPr lang="en-GB">
              <a:highlight>
                <a:srgbClr val="FFFF00"/>
              </a:highlight>
            </a:endParaRPr>
          </a:p>
        </p:txBody>
      </p:sp>
      <p:sp>
        <p:nvSpPr>
          <p:cNvPr id="7" name="Rectangle 6">
            <a:extLst>
              <a:ext uri="{FF2B5EF4-FFF2-40B4-BE49-F238E27FC236}">
                <a16:creationId xmlns:a16="http://schemas.microsoft.com/office/drawing/2014/main" id="{3D8418B5-BFAE-422F-8D0B-AC810CDACBF5}"/>
              </a:ext>
            </a:extLst>
          </p:cNvPr>
          <p:cNvSpPr/>
          <p:nvPr/>
        </p:nvSpPr>
        <p:spPr>
          <a:xfrm>
            <a:off x="515937" y="1476314"/>
            <a:ext cx="2662494" cy="44239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t>Subliminal techniques </a:t>
            </a:r>
            <a:r>
              <a:rPr lang="en-US" sz="1800"/>
              <a:t>beyond a person’s consciousness with the objective to or effect of materially distorting a person’s behavior </a:t>
            </a:r>
          </a:p>
          <a:p>
            <a:pPr algn="ctr"/>
            <a:endParaRPr lang="en-US"/>
          </a:p>
          <a:p>
            <a:pPr algn="ctr"/>
            <a:r>
              <a:rPr lang="en-US" sz="1800"/>
              <a:t>… which causes physical or psychological </a:t>
            </a:r>
            <a:r>
              <a:rPr lang="en-US" sz="1800" b="1"/>
              <a:t>harm</a:t>
            </a:r>
            <a:br>
              <a:rPr lang="en-US" sz="1800"/>
            </a:br>
            <a:endParaRPr lang="en-GB"/>
          </a:p>
        </p:txBody>
      </p:sp>
      <p:sp>
        <p:nvSpPr>
          <p:cNvPr id="8" name="Rectangle 7">
            <a:extLst>
              <a:ext uri="{FF2B5EF4-FFF2-40B4-BE49-F238E27FC236}">
                <a16:creationId xmlns:a16="http://schemas.microsoft.com/office/drawing/2014/main" id="{C8DC7D7A-AA64-4EA5-858D-5DB7CC7DCC1F}"/>
              </a:ext>
            </a:extLst>
          </p:cNvPr>
          <p:cNvSpPr/>
          <p:nvPr/>
        </p:nvSpPr>
        <p:spPr>
          <a:xfrm>
            <a:off x="3348481" y="1476314"/>
            <a:ext cx="2662494" cy="442395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800" b="1"/>
              <a:t>Exploiting any of the vulnerabilities of a specific group of persons </a:t>
            </a:r>
            <a:r>
              <a:rPr lang="en-US" sz="1800"/>
              <a:t>due to their age, disability, or social or economic situation</a:t>
            </a:r>
          </a:p>
          <a:p>
            <a:pPr algn="ctr"/>
            <a:endParaRPr lang="en-US"/>
          </a:p>
          <a:p>
            <a:pPr algn="ctr"/>
            <a:r>
              <a:rPr lang="en-US" sz="1800"/>
              <a:t>… which causes physical or psychological </a:t>
            </a:r>
            <a:r>
              <a:rPr lang="en-US" sz="1800" b="1"/>
              <a:t>harm</a:t>
            </a:r>
          </a:p>
          <a:p>
            <a:pPr algn="ctr"/>
            <a:endParaRPr lang="en-GB"/>
          </a:p>
        </p:txBody>
      </p:sp>
      <p:sp>
        <p:nvSpPr>
          <p:cNvPr id="9" name="Rectangle 8">
            <a:extLst>
              <a:ext uri="{FF2B5EF4-FFF2-40B4-BE49-F238E27FC236}">
                <a16:creationId xmlns:a16="http://schemas.microsoft.com/office/drawing/2014/main" id="{B490E4A3-DEF8-40E4-8776-9EAC3F6B19E8}"/>
              </a:ext>
            </a:extLst>
          </p:cNvPr>
          <p:cNvSpPr/>
          <p:nvPr/>
        </p:nvSpPr>
        <p:spPr>
          <a:xfrm>
            <a:off x="6181024" y="1476314"/>
            <a:ext cx="2662494" cy="442395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800" b="1"/>
              <a:t>Social scoring: </a:t>
            </a:r>
            <a:r>
              <a:rPr lang="en-US" sz="1800"/>
              <a:t>evaluating or classifying individuals based on their social behavior or known or predicted personal or personality characteristics</a:t>
            </a:r>
          </a:p>
          <a:p>
            <a:pPr algn="ctr"/>
            <a:endParaRPr lang="en-US" sz="1800"/>
          </a:p>
          <a:p>
            <a:pPr algn="ctr"/>
            <a:endParaRPr lang="en-US"/>
          </a:p>
          <a:p>
            <a:pPr algn="ctr"/>
            <a:endParaRPr lang="en-US"/>
          </a:p>
          <a:p>
            <a:pPr algn="ctr"/>
            <a:endParaRPr lang="en-GB"/>
          </a:p>
        </p:txBody>
      </p:sp>
      <p:sp>
        <p:nvSpPr>
          <p:cNvPr id="10" name="Rectangle 9">
            <a:extLst>
              <a:ext uri="{FF2B5EF4-FFF2-40B4-BE49-F238E27FC236}">
                <a16:creationId xmlns:a16="http://schemas.microsoft.com/office/drawing/2014/main" id="{26775254-B33C-4412-8D74-410538BCD8F2}"/>
              </a:ext>
            </a:extLst>
          </p:cNvPr>
          <p:cNvSpPr/>
          <p:nvPr/>
        </p:nvSpPr>
        <p:spPr>
          <a:xfrm>
            <a:off x="9013568" y="1476314"/>
            <a:ext cx="2662494" cy="44239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800" b="1">
                <a:solidFill>
                  <a:schemeClr val="tx1"/>
                </a:solidFill>
              </a:rPr>
              <a:t>‘Real-time’ biometric identification systems </a:t>
            </a:r>
            <a:r>
              <a:rPr lang="en-US" sz="1800">
                <a:solidFill>
                  <a:schemeClr val="tx1"/>
                </a:solidFill>
              </a:rPr>
              <a:t>in publicly accessible spaces by </a:t>
            </a:r>
            <a:r>
              <a:rPr lang="en-US" sz="1800" b="1">
                <a:solidFill>
                  <a:schemeClr val="tx1"/>
                </a:solidFill>
              </a:rPr>
              <a:t>law enforcement</a:t>
            </a:r>
          </a:p>
          <a:p>
            <a:pPr algn="ctr"/>
            <a:endParaRPr lang="en-US" b="1">
              <a:solidFill>
                <a:schemeClr val="tx1"/>
              </a:solidFill>
            </a:endParaRPr>
          </a:p>
          <a:p>
            <a:pPr algn="ctr"/>
            <a:r>
              <a:rPr lang="en-US">
                <a:solidFill>
                  <a:schemeClr val="tx1"/>
                </a:solidFill>
              </a:rPr>
              <a:t>… although exceptions apply</a:t>
            </a:r>
          </a:p>
          <a:p>
            <a:pPr algn="ctr"/>
            <a:endParaRPr lang="en-US"/>
          </a:p>
          <a:p>
            <a:pPr algn="ctr"/>
            <a:endParaRPr lang="en-US"/>
          </a:p>
          <a:p>
            <a:pPr algn="ctr"/>
            <a:endParaRPr lang="en-GB"/>
          </a:p>
        </p:txBody>
      </p:sp>
      <p:pic>
        <p:nvPicPr>
          <p:cNvPr id="2" name="Picture 2">
            <a:extLst>
              <a:ext uri="{FF2B5EF4-FFF2-40B4-BE49-F238E27FC236}">
                <a16:creationId xmlns:a16="http://schemas.microsoft.com/office/drawing/2014/main" id="{278FD751-52BC-E2CF-22CA-A79ECEE23E6D}"/>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auto">
          <a:xfrm>
            <a:off x="10670266" y="325354"/>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7809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39754E5-D590-4925-91EC-8B44CD318DBF}"/>
              </a:ext>
            </a:extLst>
          </p:cNvPr>
          <p:cNvSpPr>
            <a:spLocks noGrp="1"/>
          </p:cNvSpPr>
          <p:nvPr>
            <p:ph type="sldNum" sz="quarter" idx="12"/>
          </p:nvPr>
        </p:nvSpPr>
        <p:spPr/>
        <p:txBody>
          <a:bodyPr/>
          <a:lstStyle/>
          <a:p>
            <a:fld id="{F9591D4C-BB8F-AE46-BE73-C616F30BBC5B}" type="slidenum">
              <a:rPr lang="en-US" smtClean="0"/>
              <a:pPr/>
              <a:t>18</a:t>
            </a:fld>
            <a:endParaRPr lang="en-US"/>
          </a:p>
        </p:txBody>
      </p:sp>
      <p:sp>
        <p:nvSpPr>
          <p:cNvPr id="5" name="Text Placeholder 4">
            <a:extLst>
              <a:ext uri="{FF2B5EF4-FFF2-40B4-BE49-F238E27FC236}">
                <a16:creationId xmlns:a16="http://schemas.microsoft.com/office/drawing/2014/main" id="{BDBD150E-182F-4390-8732-994D3B0678E9}"/>
              </a:ext>
            </a:extLst>
          </p:cNvPr>
          <p:cNvSpPr>
            <a:spLocks noGrp="1"/>
          </p:cNvSpPr>
          <p:nvPr>
            <p:ph type="body" sz="quarter" idx="15"/>
          </p:nvPr>
        </p:nvSpPr>
        <p:spPr/>
        <p:txBody>
          <a:bodyPr/>
          <a:lstStyle/>
          <a:p>
            <a:r>
              <a:rPr lang="en-GB"/>
              <a:t>What is High Risk AI?</a:t>
            </a:r>
          </a:p>
        </p:txBody>
      </p:sp>
      <p:sp>
        <p:nvSpPr>
          <p:cNvPr id="6" name="Title 5">
            <a:extLst>
              <a:ext uri="{FF2B5EF4-FFF2-40B4-BE49-F238E27FC236}">
                <a16:creationId xmlns:a16="http://schemas.microsoft.com/office/drawing/2014/main" id="{30F2D48D-B131-410D-B3E6-37048375A376}"/>
              </a:ext>
            </a:extLst>
          </p:cNvPr>
          <p:cNvSpPr>
            <a:spLocks noGrp="1"/>
          </p:cNvSpPr>
          <p:nvPr>
            <p:ph type="title"/>
          </p:nvPr>
        </p:nvSpPr>
        <p:spPr>
          <a:xfrm>
            <a:off x="515939" y="357103"/>
            <a:ext cx="11160124" cy="577153"/>
          </a:xfrm>
        </p:spPr>
        <p:txBody>
          <a:bodyPr/>
          <a:lstStyle/>
          <a:p>
            <a:r>
              <a:rPr lang="en-GB"/>
              <a:t>High Risk AI</a:t>
            </a:r>
          </a:p>
        </p:txBody>
      </p:sp>
      <p:sp>
        <p:nvSpPr>
          <p:cNvPr id="3" name="Freeform: Shape 2">
            <a:extLst>
              <a:ext uri="{FF2B5EF4-FFF2-40B4-BE49-F238E27FC236}">
                <a16:creationId xmlns:a16="http://schemas.microsoft.com/office/drawing/2014/main" id="{139A9152-FADA-4FC7-9054-DB93122FB61E}"/>
              </a:ext>
            </a:extLst>
          </p:cNvPr>
          <p:cNvSpPr/>
          <p:nvPr/>
        </p:nvSpPr>
        <p:spPr>
          <a:xfrm>
            <a:off x="519208" y="1545084"/>
            <a:ext cx="2593856" cy="1556314"/>
          </a:xfrm>
          <a:custGeom>
            <a:avLst/>
            <a:gdLst>
              <a:gd name="connsiteX0" fmla="*/ 0 w 2593856"/>
              <a:gd name="connsiteY0" fmla="*/ 0 h 1556314"/>
              <a:gd name="connsiteX1" fmla="*/ 2593856 w 2593856"/>
              <a:gd name="connsiteY1" fmla="*/ 0 h 1556314"/>
              <a:gd name="connsiteX2" fmla="*/ 2593856 w 2593856"/>
              <a:gd name="connsiteY2" fmla="*/ 1556314 h 1556314"/>
              <a:gd name="connsiteX3" fmla="*/ 0 w 2593856"/>
              <a:gd name="connsiteY3" fmla="*/ 1556314 h 1556314"/>
              <a:gd name="connsiteX4" fmla="*/ 0 w 2593856"/>
              <a:gd name="connsiteY4" fmla="*/ 0 h 1556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856" h="1556314">
                <a:moveTo>
                  <a:pt x="0" y="0"/>
                </a:moveTo>
                <a:lnTo>
                  <a:pt x="2593856" y="0"/>
                </a:lnTo>
                <a:lnTo>
                  <a:pt x="2593856" y="1556314"/>
                </a:lnTo>
                <a:lnTo>
                  <a:pt x="0" y="1556314"/>
                </a:lnTo>
                <a:lnTo>
                  <a:pt x="0" y="0"/>
                </a:ln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en-GB" sz="1600" kern="1200"/>
          </a:p>
          <a:p>
            <a:pPr marL="0" lvl="0" indent="0" algn="ctr" defTabSz="711200">
              <a:lnSpc>
                <a:spcPct val="90000"/>
              </a:lnSpc>
              <a:spcBef>
                <a:spcPct val="0"/>
              </a:spcBef>
              <a:spcAft>
                <a:spcPct val="35000"/>
              </a:spcAft>
              <a:buNone/>
            </a:pPr>
            <a:r>
              <a:rPr lang="en-GB" sz="1600" kern="1200"/>
              <a:t>Biometric identification and categorisation of natural persons</a:t>
            </a:r>
          </a:p>
        </p:txBody>
      </p:sp>
      <p:sp>
        <p:nvSpPr>
          <p:cNvPr id="7" name="Freeform: Shape 6">
            <a:extLst>
              <a:ext uri="{FF2B5EF4-FFF2-40B4-BE49-F238E27FC236}">
                <a16:creationId xmlns:a16="http://schemas.microsoft.com/office/drawing/2014/main" id="{62520C70-A916-4176-A83A-21CCCA31A1FC}"/>
              </a:ext>
            </a:extLst>
          </p:cNvPr>
          <p:cNvSpPr/>
          <p:nvPr/>
        </p:nvSpPr>
        <p:spPr>
          <a:xfrm>
            <a:off x="3372451" y="1545084"/>
            <a:ext cx="2593856" cy="1556314"/>
          </a:xfrm>
          <a:custGeom>
            <a:avLst/>
            <a:gdLst>
              <a:gd name="connsiteX0" fmla="*/ 0 w 2593856"/>
              <a:gd name="connsiteY0" fmla="*/ 0 h 1556314"/>
              <a:gd name="connsiteX1" fmla="*/ 2593856 w 2593856"/>
              <a:gd name="connsiteY1" fmla="*/ 0 h 1556314"/>
              <a:gd name="connsiteX2" fmla="*/ 2593856 w 2593856"/>
              <a:gd name="connsiteY2" fmla="*/ 1556314 h 1556314"/>
              <a:gd name="connsiteX3" fmla="*/ 0 w 2593856"/>
              <a:gd name="connsiteY3" fmla="*/ 1556314 h 1556314"/>
              <a:gd name="connsiteX4" fmla="*/ 0 w 2593856"/>
              <a:gd name="connsiteY4" fmla="*/ 0 h 1556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856" h="1556314">
                <a:moveTo>
                  <a:pt x="0" y="0"/>
                </a:moveTo>
                <a:lnTo>
                  <a:pt x="2593856" y="0"/>
                </a:lnTo>
                <a:lnTo>
                  <a:pt x="2593856" y="1556314"/>
                </a:lnTo>
                <a:lnTo>
                  <a:pt x="0" y="1556314"/>
                </a:lnTo>
                <a:lnTo>
                  <a:pt x="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Bef>
                <a:spcPct val="0"/>
              </a:spcBef>
              <a:spcAft>
                <a:spcPct val="35000"/>
              </a:spcAft>
            </a:pPr>
            <a:endParaRPr lang="en-GB" sz="1600" kern="1200"/>
          </a:p>
          <a:p>
            <a:pPr marL="0" lvl="0" indent="0" algn="ctr" defTabSz="711200">
              <a:lnSpc>
                <a:spcPct val="90000"/>
              </a:lnSpc>
              <a:spcBef>
                <a:spcPct val="0"/>
              </a:spcBef>
              <a:spcAft>
                <a:spcPct val="35000"/>
              </a:spcAft>
              <a:buNone/>
            </a:pPr>
            <a:r>
              <a:rPr lang="en-GB" sz="1600" kern="1200"/>
              <a:t>Management and operation of critical infrastructure </a:t>
            </a:r>
          </a:p>
        </p:txBody>
      </p:sp>
      <p:sp>
        <p:nvSpPr>
          <p:cNvPr id="8" name="Freeform: Shape 7">
            <a:extLst>
              <a:ext uri="{FF2B5EF4-FFF2-40B4-BE49-F238E27FC236}">
                <a16:creationId xmlns:a16="http://schemas.microsoft.com/office/drawing/2014/main" id="{F717F4E2-6C37-458F-9E15-8A2985970F3D}"/>
              </a:ext>
            </a:extLst>
          </p:cNvPr>
          <p:cNvSpPr/>
          <p:nvPr/>
        </p:nvSpPr>
        <p:spPr>
          <a:xfrm>
            <a:off x="6225693" y="1545084"/>
            <a:ext cx="2593856" cy="1556314"/>
          </a:xfrm>
          <a:custGeom>
            <a:avLst/>
            <a:gdLst>
              <a:gd name="connsiteX0" fmla="*/ 0 w 2593856"/>
              <a:gd name="connsiteY0" fmla="*/ 0 h 1556314"/>
              <a:gd name="connsiteX1" fmla="*/ 2593856 w 2593856"/>
              <a:gd name="connsiteY1" fmla="*/ 0 h 1556314"/>
              <a:gd name="connsiteX2" fmla="*/ 2593856 w 2593856"/>
              <a:gd name="connsiteY2" fmla="*/ 1556314 h 1556314"/>
              <a:gd name="connsiteX3" fmla="*/ 0 w 2593856"/>
              <a:gd name="connsiteY3" fmla="*/ 1556314 h 1556314"/>
              <a:gd name="connsiteX4" fmla="*/ 0 w 2593856"/>
              <a:gd name="connsiteY4" fmla="*/ 0 h 1556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856" h="1556314">
                <a:moveTo>
                  <a:pt x="0" y="0"/>
                </a:moveTo>
                <a:lnTo>
                  <a:pt x="2593856" y="0"/>
                </a:lnTo>
                <a:lnTo>
                  <a:pt x="2593856" y="1556314"/>
                </a:lnTo>
                <a:lnTo>
                  <a:pt x="0" y="1556314"/>
                </a:lnTo>
                <a:lnTo>
                  <a:pt x="0" y="0"/>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en-GB" sz="1600" kern="1200"/>
          </a:p>
          <a:p>
            <a:pPr marL="0" lvl="0" indent="0" algn="ctr" defTabSz="711200">
              <a:lnSpc>
                <a:spcPct val="90000"/>
              </a:lnSpc>
              <a:spcBef>
                <a:spcPct val="0"/>
              </a:spcBef>
              <a:spcAft>
                <a:spcPct val="35000"/>
              </a:spcAft>
              <a:buNone/>
            </a:pPr>
            <a:r>
              <a:rPr lang="en-GB" sz="1600" kern="1200"/>
              <a:t>Education and vocational training </a:t>
            </a:r>
          </a:p>
        </p:txBody>
      </p:sp>
      <p:sp>
        <p:nvSpPr>
          <p:cNvPr id="9" name="Freeform: Shape 8">
            <a:extLst>
              <a:ext uri="{FF2B5EF4-FFF2-40B4-BE49-F238E27FC236}">
                <a16:creationId xmlns:a16="http://schemas.microsoft.com/office/drawing/2014/main" id="{714E797F-5F23-4B1B-AB47-DD87BB9F97E5}"/>
              </a:ext>
            </a:extLst>
          </p:cNvPr>
          <p:cNvSpPr/>
          <p:nvPr/>
        </p:nvSpPr>
        <p:spPr>
          <a:xfrm>
            <a:off x="9078936" y="1545084"/>
            <a:ext cx="2593856" cy="1556314"/>
          </a:xfrm>
          <a:custGeom>
            <a:avLst/>
            <a:gdLst>
              <a:gd name="connsiteX0" fmla="*/ 0 w 2593856"/>
              <a:gd name="connsiteY0" fmla="*/ 0 h 1556314"/>
              <a:gd name="connsiteX1" fmla="*/ 2593856 w 2593856"/>
              <a:gd name="connsiteY1" fmla="*/ 0 h 1556314"/>
              <a:gd name="connsiteX2" fmla="*/ 2593856 w 2593856"/>
              <a:gd name="connsiteY2" fmla="*/ 1556314 h 1556314"/>
              <a:gd name="connsiteX3" fmla="*/ 0 w 2593856"/>
              <a:gd name="connsiteY3" fmla="*/ 1556314 h 1556314"/>
              <a:gd name="connsiteX4" fmla="*/ 0 w 2593856"/>
              <a:gd name="connsiteY4" fmla="*/ 0 h 1556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856" h="1556314">
                <a:moveTo>
                  <a:pt x="0" y="0"/>
                </a:moveTo>
                <a:lnTo>
                  <a:pt x="2593856" y="0"/>
                </a:lnTo>
                <a:lnTo>
                  <a:pt x="2593856" y="1556314"/>
                </a:lnTo>
                <a:lnTo>
                  <a:pt x="0" y="1556314"/>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en-GB" sz="1600" kern="1200">
              <a:solidFill>
                <a:schemeClr val="tx1"/>
              </a:solidFill>
            </a:endParaRPr>
          </a:p>
          <a:p>
            <a:pPr marL="0" lvl="0" indent="0" algn="ctr" defTabSz="711200">
              <a:lnSpc>
                <a:spcPct val="90000"/>
              </a:lnSpc>
              <a:spcBef>
                <a:spcPct val="0"/>
              </a:spcBef>
              <a:spcAft>
                <a:spcPct val="35000"/>
              </a:spcAft>
              <a:buNone/>
            </a:pPr>
            <a:r>
              <a:rPr lang="en-GB" sz="1600" kern="1200">
                <a:solidFill>
                  <a:schemeClr val="tx1"/>
                </a:solidFill>
              </a:rPr>
              <a:t>Employment, workers management and access to self-employment </a:t>
            </a:r>
          </a:p>
        </p:txBody>
      </p:sp>
      <p:sp>
        <p:nvSpPr>
          <p:cNvPr id="11" name="Freeform: Shape 10">
            <a:extLst>
              <a:ext uri="{FF2B5EF4-FFF2-40B4-BE49-F238E27FC236}">
                <a16:creationId xmlns:a16="http://schemas.microsoft.com/office/drawing/2014/main" id="{5FDBC5D2-68B7-48F3-8F2A-E24DDBB28318}"/>
              </a:ext>
            </a:extLst>
          </p:cNvPr>
          <p:cNvSpPr/>
          <p:nvPr/>
        </p:nvSpPr>
        <p:spPr>
          <a:xfrm>
            <a:off x="519208" y="3360784"/>
            <a:ext cx="2593856" cy="1556314"/>
          </a:xfrm>
          <a:custGeom>
            <a:avLst/>
            <a:gdLst>
              <a:gd name="connsiteX0" fmla="*/ 0 w 2593856"/>
              <a:gd name="connsiteY0" fmla="*/ 0 h 1556314"/>
              <a:gd name="connsiteX1" fmla="*/ 2593856 w 2593856"/>
              <a:gd name="connsiteY1" fmla="*/ 0 h 1556314"/>
              <a:gd name="connsiteX2" fmla="*/ 2593856 w 2593856"/>
              <a:gd name="connsiteY2" fmla="*/ 1556314 h 1556314"/>
              <a:gd name="connsiteX3" fmla="*/ 0 w 2593856"/>
              <a:gd name="connsiteY3" fmla="*/ 1556314 h 1556314"/>
              <a:gd name="connsiteX4" fmla="*/ 0 w 2593856"/>
              <a:gd name="connsiteY4" fmla="*/ 0 h 1556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856" h="1556314">
                <a:moveTo>
                  <a:pt x="0" y="0"/>
                </a:moveTo>
                <a:lnTo>
                  <a:pt x="2593856" y="0"/>
                </a:lnTo>
                <a:lnTo>
                  <a:pt x="2593856" y="1556314"/>
                </a:lnTo>
                <a:lnTo>
                  <a:pt x="0" y="1556314"/>
                </a:lnTo>
                <a:lnTo>
                  <a:pt x="0" y="0"/>
                </a:lnTo>
                <a:close/>
              </a:path>
            </a:pathLst>
          </a:custGeom>
        </p:spPr>
        <p:style>
          <a:lnRef idx="2">
            <a:schemeClr val="accent6">
              <a:shade val="50000"/>
            </a:schemeClr>
          </a:lnRef>
          <a:fillRef idx="1">
            <a:schemeClr val="accent6"/>
          </a:fillRef>
          <a:effectRef idx="0">
            <a:schemeClr val="accent6"/>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en-GB" sz="1600" kern="1200"/>
          </a:p>
          <a:p>
            <a:pPr marL="0" lvl="0" indent="0" algn="ctr" defTabSz="711200">
              <a:lnSpc>
                <a:spcPct val="90000"/>
              </a:lnSpc>
              <a:spcBef>
                <a:spcPct val="0"/>
              </a:spcBef>
              <a:spcAft>
                <a:spcPct val="35000"/>
              </a:spcAft>
              <a:buNone/>
            </a:pPr>
            <a:r>
              <a:rPr lang="en-GB" sz="1600" kern="1200"/>
              <a:t>Access to and enjoyment of essential private services and public services and benefits</a:t>
            </a:r>
          </a:p>
        </p:txBody>
      </p:sp>
      <p:sp>
        <p:nvSpPr>
          <p:cNvPr id="13" name="Freeform: Shape 12">
            <a:extLst>
              <a:ext uri="{FF2B5EF4-FFF2-40B4-BE49-F238E27FC236}">
                <a16:creationId xmlns:a16="http://schemas.microsoft.com/office/drawing/2014/main" id="{6ABF96EE-A5FD-4D5E-9C2C-BB178D54DCD6}"/>
              </a:ext>
            </a:extLst>
          </p:cNvPr>
          <p:cNvSpPr/>
          <p:nvPr/>
        </p:nvSpPr>
        <p:spPr>
          <a:xfrm>
            <a:off x="3372451" y="3360784"/>
            <a:ext cx="2593856" cy="1556314"/>
          </a:xfrm>
          <a:custGeom>
            <a:avLst/>
            <a:gdLst>
              <a:gd name="connsiteX0" fmla="*/ 0 w 2593856"/>
              <a:gd name="connsiteY0" fmla="*/ 0 h 1556314"/>
              <a:gd name="connsiteX1" fmla="*/ 2593856 w 2593856"/>
              <a:gd name="connsiteY1" fmla="*/ 0 h 1556314"/>
              <a:gd name="connsiteX2" fmla="*/ 2593856 w 2593856"/>
              <a:gd name="connsiteY2" fmla="*/ 1556314 h 1556314"/>
              <a:gd name="connsiteX3" fmla="*/ 0 w 2593856"/>
              <a:gd name="connsiteY3" fmla="*/ 1556314 h 1556314"/>
              <a:gd name="connsiteX4" fmla="*/ 0 w 2593856"/>
              <a:gd name="connsiteY4" fmla="*/ 0 h 1556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856" h="1556314">
                <a:moveTo>
                  <a:pt x="0" y="0"/>
                </a:moveTo>
                <a:lnTo>
                  <a:pt x="2593856" y="0"/>
                </a:lnTo>
                <a:lnTo>
                  <a:pt x="2593856" y="1556314"/>
                </a:lnTo>
                <a:lnTo>
                  <a:pt x="0" y="1556314"/>
                </a:lnTo>
                <a:lnTo>
                  <a:pt x="0" y="0"/>
                </a:lnTo>
                <a:close/>
              </a:path>
            </a:pathLst>
          </a:custGeom>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solidFill>
                  <a:schemeClr val="tx1"/>
                </a:solidFill>
              </a:rPr>
              <a:t>Law enforcement </a:t>
            </a:r>
          </a:p>
        </p:txBody>
      </p:sp>
      <p:sp>
        <p:nvSpPr>
          <p:cNvPr id="14" name="Freeform: Shape 13">
            <a:extLst>
              <a:ext uri="{FF2B5EF4-FFF2-40B4-BE49-F238E27FC236}">
                <a16:creationId xmlns:a16="http://schemas.microsoft.com/office/drawing/2014/main" id="{45320B21-1926-4D86-B1D3-0098D2D45AC2}"/>
              </a:ext>
            </a:extLst>
          </p:cNvPr>
          <p:cNvSpPr/>
          <p:nvPr/>
        </p:nvSpPr>
        <p:spPr>
          <a:xfrm>
            <a:off x="6225693" y="3360784"/>
            <a:ext cx="2593856" cy="1556314"/>
          </a:xfrm>
          <a:custGeom>
            <a:avLst/>
            <a:gdLst>
              <a:gd name="connsiteX0" fmla="*/ 0 w 2593856"/>
              <a:gd name="connsiteY0" fmla="*/ 0 h 1556314"/>
              <a:gd name="connsiteX1" fmla="*/ 2593856 w 2593856"/>
              <a:gd name="connsiteY1" fmla="*/ 0 h 1556314"/>
              <a:gd name="connsiteX2" fmla="*/ 2593856 w 2593856"/>
              <a:gd name="connsiteY2" fmla="*/ 1556314 h 1556314"/>
              <a:gd name="connsiteX3" fmla="*/ 0 w 2593856"/>
              <a:gd name="connsiteY3" fmla="*/ 1556314 h 1556314"/>
              <a:gd name="connsiteX4" fmla="*/ 0 w 2593856"/>
              <a:gd name="connsiteY4" fmla="*/ 0 h 1556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856" h="1556314">
                <a:moveTo>
                  <a:pt x="0" y="0"/>
                </a:moveTo>
                <a:lnTo>
                  <a:pt x="2593856" y="0"/>
                </a:lnTo>
                <a:lnTo>
                  <a:pt x="2593856" y="1556314"/>
                </a:lnTo>
                <a:lnTo>
                  <a:pt x="0" y="1556314"/>
                </a:lnTo>
                <a:lnTo>
                  <a:pt x="0" y="0"/>
                </a:lnTo>
                <a:close/>
              </a:path>
            </a:pathLst>
          </a:custGeom>
        </p:spPr>
        <p:style>
          <a:lnRef idx="2">
            <a:schemeClr val="dk1">
              <a:shade val="50000"/>
            </a:schemeClr>
          </a:lnRef>
          <a:fillRef idx="1">
            <a:schemeClr val="dk1"/>
          </a:fillRef>
          <a:effectRef idx="0">
            <a:schemeClr val="dk1"/>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Migration, asylum and border control management </a:t>
            </a:r>
          </a:p>
        </p:txBody>
      </p:sp>
      <p:sp>
        <p:nvSpPr>
          <p:cNvPr id="15" name="Freeform: Shape 14">
            <a:extLst>
              <a:ext uri="{FF2B5EF4-FFF2-40B4-BE49-F238E27FC236}">
                <a16:creationId xmlns:a16="http://schemas.microsoft.com/office/drawing/2014/main" id="{788A6F3F-6D15-4D72-8C3F-26C459EDEAE6}"/>
              </a:ext>
            </a:extLst>
          </p:cNvPr>
          <p:cNvSpPr/>
          <p:nvPr/>
        </p:nvSpPr>
        <p:spPr>
          <a:xfrm>
            <a:off x="9078936" y="3360784"/>
            <a:ext cx="2593856" cy="1556314"/>
          </a:xfrm>
          <a:custGeom>
            <a:avLst/>
            <a:gdLst>
              <a:gd name="connsiteX0" fmla="*/ 0 w 2593856"/>
              <a:gd name="connsiteY0" fmla="*/ 0 h 1556314"/>
              <a:gd name="connsiteX1" fmla="*/ 2593856 w 2593856"/>
              <a:gd name="connsiteY1" fmla="*/ 0 h 1556314"/>
              <a:gd name="connsiteX2" fmla="*/ 2593856 w 2593856"/>
              <a:gd name="connsiteY2" fmla="*/ 1556314 h 1556314"/>
              <a:gd name="connsiteX3" fmla="*/ 0 w 2593856"/>
              <a:gd name="connsiteY3" fmla="*/ 1556314 h 1556314"/>
              <a:gd name="connsiteX4" fmla="*/ 0 w 2593856"/>
              <a:gd name="connsiteY4" fmla="*/ 0 h 1556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856" h="1556314">
                <a:moveTo>
                  <a:pt x="0" y="0"/>
                </a:moveTo>
                <a:lnTo>
                  <a:pt x="2593856" y="0"/>
                </a:lnTo>
                <a:lnTo>
                  <a:pt x="2593856" y="1556314"/>
                </a:lnTo>
                <a:lnTo>
                  <a:pt x="0" y="1556314"/>
                </a:lnTo>
                <a:lnTo>
                  <a:pt x="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Administration of justice and democratic processes </a:t>
            </a:r>
          </a:p>
        </p:txBody>
      </p:sp>
      <p:graphicFrame>
        <p:nvGraphicFramePr>
          <p:cNvPr id="12" name="Diagram 11">
            <a:extLst>
              <a:ext uri="{FF2B5EF4-FFF2-40B4-BE49-F238E27FC236}">
                <a16:creationId xmlns:a16="http://schemas.microsoft.com/office/drawing/2014/main" id="{CBEA7186-A814-43EB-9125-C4D3ED263C62}"/>
              </a:ext>
            </a:extLst>
          </p:cNvPr>
          <p:cNvGraphicFramePr/>
          <p:nvPr/>
        </p:nvGraphicFramePr>
        <p:xfrm>
          <a:off x="515936" y="5223511"/>
          <a:ext cx="11160125" cy="939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2">
            <a:extLst>
              <a:ext uri="{FF2B5EF4-FFF2-40B4-BE49-F238E27FC236}">
                <a16:creationId xmlns:a16="http://schemas.microsoft.com/office/drawing/2014/main" id="{7DB68C71-259C-66D9-FA42-34DFBC766619}"/>
              </a:ext>
            </a:extLst>
          </p:cNvPr>
          <p:cNvPicPr>
            <a:picLocks noChangeAspect="1" noChangeArrowheads="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bwMode="auto">
          <a:xfrm>
            <a:off x="10670266" y="354109"/>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4045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109938B-A99B-2D62-C36C-D9C1DFC81E1E}"/>
              </a:ext>
            </a:extLst>
          </p:cNvPr>
          <p:cNvSpPr/>
          <p:nvPr/>
        </p:nvSpPr>
        <p:spPr>
          <a:xfrm>
            <a:off x="515939" y="4855029"/>
            <a:ext cx="11160124" cy="1312506"/>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Slide Number Placeholder 3">
            <a:extLst>
              <a:ext uri="{FF2B5EF4-FFF2-40B4-BE49-F238E27FC236}">
                <a16:creationId xmlns:a16="http://schemas.microsoft.com/office/drawing/2014/main" id="{B82B1348-8C11-100C-B4AD-3F1FB01362D1}"/>
              </a:ext>
            </a:extLst>
          </p:cNvPr>
          <p:cNvSpPr>
            <a:spLocks noGrp="1"/>
          </p:cNvSpPr>
          <p:nvPr>
            <p:ph type="sldNum" sz="quarter" idx="12"/>
          </p:nvPr>
        </p:nvSpPr>
        <p:spPr/>
        <p:txBody>
          <a:bodyPr/>
          <a:lstStyle/>
          <a:p>
            <a:fld id="{F9591D4C-BB8F-AE46-BE73-C616F30BBC5B}" type="slidenum">
              <a:rPr lang="en-US" smtClean="0"/>
              <a:pPr/>
              <a:t>19</a:t>
            </a:fld>
            <a:endParaRPr lang="en-US"/>
          </a:p>
        </p:txBody>
      </p:sp>
      <p:sp>
        <p:nvSpPr>
          <p:cNvPr id="6" name="Title 5">
            <a:extLst>
              <a:ext uri="{FF2B5EF4-FFF2-40B4-BE49-F238E27FC236}">
                <a16:creationId xmlns:a16="http://schemas.microsoft.com/office/drawing/2014/main" id="{53FBB0D7-761E-E35D-AF89-C2CB1E5F4ADD}"/>
              </a:ext>
            </a:extLst>
          </p:cNvPr>
          <p:cNvSpPr>
            <a:spLocks noGrp="1"/>
          </p:cNvSpPr>
          <p:nvPr>
            <p:ph type="title"/>
          </p:nvPr>
        </p:nvSpPr>
        <p:spPr>
          <a:xfrm>
            <a:off x="515939" y="368300"/>
            <a:ext cx="9099116" cy="577153"/>
          </a:xfrm>
        </p:spPr>
        <p:txBody>
          <a:bodyPr/>
          <a:lstStyle/>
          <a:p>
            <a:r>
              <a:rPr lang="en-GB" sz="3200" dirty="0"/>
              <a:t>Most </a:t>
            </a:r>
            <a:r>
              <a:rPr lang="en-GB" sz="3200" dirty="0" err="1"/>
              <a:t>GPAI</a:t>
            </a:r>
            <a:r>
              <a:rPr lang="en-GB" sz="3200" dirty="0"/>
              <a:t> models will only need to comply with documentation requirements</a:t>
            </a:r>
          </a:p>
        </p:txBody>
      </p:sp>
      <p:sp>
        <p:nvSpPr>
          <p:cNvPr id="14" name="Rectangle 13">
            <a:extLst>
              <a:ext uri="{FF2B5EF4-FFF2-40B4-BE49-F238E27FC236}">
                <a16:creationId xmlns:a16="http://schemas.microsoft.com/office/drawing/2014/main" id="{A0E9C987-3E32-F2F8-817E-01824CAF17AF}"/>
              </a:ext>
            </a:extLst>
          </p:cNvPr>
          <p:cNvSpPr/>
          <p:nvPr/>
        </p:nvSpPr>
        <p:spPr>
          <a:xfrm>
            <a:off x="515939" y="1912776"/>
            <a:ext cx="11160124" cy="2527362"/>
          </a:xfrm>
          <a:prstGeom prst="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Arrow: Pentagon 11">
            <a:extLst>
              <a:ext uri="{FF2B5EF4-FFF2-40B4-BE49-F238E27FC236}">
                <a16:creationId xmlns:a16="http://schemas.microsoft.com/office/drawing/2014/main" id="{09766338-D838-5224-6904-FD67ECA48746}"/>
              </a:ext>
            </a:extLst>
          </p:cNvPr>
          <p:cNvSpPr/>
          <p:nvPr/>
        </p:nvSpPr>
        <p:spPr>
          <a:xfrm>
            <a:off x="515939" y="1912776"/>
            <a:ext cx="2395212" cy="2527362"/>
          </a:xfrm>
          <a:prstGeom prst="homePlate">
            <a:avLst>
              <a:gd name="adj" fmla="val 1489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Rules for </a:t>
            </a:r>
            <a:r>
              <a:rPr lang="en-US" b="1" err="1"/>
              <a:t>GPAI</a:t>
            </a:r>
            <a:endParaRPr lang="en-US" b="1"/>
          </a:p>
          <a:p>
            <a:pPr algn="ctr"/>
            <a:endParaRPr lang="en-US"/>
          </a:p>
          <a:p>
            <a:pPr algn="ctr"/>
            <a:r>
              <a:rPr lang="en-US" i="1"/>
              <a:t>Majority of models</a:t>
            </a:r>
            <a:endParaRPr lang="nl-NL" i="1"/>
          </a:p>
        </p:txBody>
      </p:sp>
      <p:sp>
        <p:nvSpPr>
          <p:cNvPr id="13" name="Arrow: Pentagon 12">
            <a:extLst>
              <a:ext uri="{FF2B5EF4-FFF2-40B4-BE49-F238E27FC236}">
                <a16:creationId xmlns:a16="http://schemas.microsoft.com/office/drawing/2014/main" id="{014A208E-7501-3954-09E8-F628074A4E66}"/>
              </a:ext>
            </a:extLst>
          </p:cNvPr>
          <p:cNvSpPr/>
          <p:nvPr/>
        </p:nvSpPr>
        <p:spPr>
          <a:xfrm>
            <a:off x="515939" y="4855029"/>
            <a:ext cx="2395212" cy="1312506"/>
          </a:xfrm>
          <a:prstGeom prst="homePlate">
            <a:avLst>
              <a:gd name="adj" fmla="val 29116"/>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Rules for </a:t>
            </a:r>
            <a:r>
              <a:rPr lang="en-US" b="1" err="1"/>
              <a:t>GPAI</a:t>
            </a:r>
            <a:r>
              <a:rPr lang="en-US" b="1"/>
              <a:t> with systemic risk</a:t>
            </a:r>
            <a:endParaRPr lang="nl-NL" b="1"/>
          </a:p>
        </p:txBody>
      </p:sp>
      <p:sp>
        <p:nvSpPr>
          <p:cNvPr id="16" name="TextBox 15">
            <a:extLst>
              <a:ext uri="{FF2B5EF4-FFF2-40B4-BE49-F238E27FC236}">
                <a16:creationId xmlns:a16="http://schemas.microsoft.com/office/drawing/2014/main" id="{E4867853-B43A-7EDF-8523-F124A00AEC68}"/>
              </a:ext>
            </a:extLst>
          </p:cNvPr>
          <p:cNvSpPr txBox="1"/>
          <p:nvPr/>
        </p:nvSpPr>
        <p:spPr>
          <a:xfrm>
            <a:off x="3666924" y="2853291"/>
            <a:ext cx="2183364" cy="584775"/>
          </a:xfrm>
          <a:prstGeom prst="rect">
            <a:avLst/>
          </a:prstGeom>
          <a:noFill/>
        </p:spPr>
        <p:txBody>
          <a:bodyPr wrap="square" rtlCol="0">
            <a:spAutoFit/>
          </a:bodyPr>
          <a:lstStyle/>
          <a:p>
            <a:pPr algn="ctr"/>
            <a:r>
              <a:rPr lang="en-US" sz="1600"/>
              <a:t>Applies to </a:t>
            </a:r>
            <a:r>
              <a:rPr lang="en-US" sz="1600" b="1">
                <a:solidFill>
                  <a:schemeClr val="accent1"/>
                </a:solidFill>
              </a:rPr>
              <a:t>all </a:t>
            </a:r>
            <a:r>
              <a:rPr lang="en-US" sz="1600" b="1" err="1">
                <a:solidFill>
                  <a:schemeClr val="accent1"/>
                </a:solidFill>
              </a:rPr>
              <a:t>GPAI</a:t>
            </a:r>
            <a:r>
              <a:rPr lang="en-US" sz="1600" b="1">
                <a:solidFill>
                  <a:schemeClr val="accent1"/>
                </a:solidFill>
              </a:rPr>
              <a:t> models</a:t>
            </a:r>
            <a:endParaRPr lang="nl-NL" sz="1600" b="1">
              <a:solidFill>
                <a:schemeClr val="accent1"/>
              </a:solidFill>
            </a:endParaRPr>
          </a:p>
        </p:txBody>
      </p:sp>
      <p:sp>
        <p:nvSpPr>
          <p:cNvPr id="17" name="TextBox 16">
            <a:extLst>
              <a:ext uri="{FF2B5EF4-FFF2-40B4-BE49-F238E27FC236}">
                <a16:creationId xmlns:a16="http://schemas.microsoft.com/office/drawing/2014/main" id="{240F4E7F-EC2A-E6C6-41EF-1DCBC94F8195}"/>
              </a:ext>
            </a:extLst>
          </p:cNvPr>
          <p:cNvSpPr txBox="1"/>
          <p:nvPr/>
        </p:nvSpPr>
        <p:spPr>
          <a:xfrm>
            <a:off x="2976458" y="4967206"/>
            <a:ext cx="3564297" cy="1077218"/>
          </a:xfrm>
          <a:prstGeom prst="rect">
            <a:avLst/>
          </a:prstGeom>
          <a:noFill/>
        </p:spPr>
        <p:txBody>
          <a:bodyPr wrap="square" rtlCol="0">
            <a:spAutoFit/>
          </a:bodyPr>
          <a:lstStyle/>
          <a:p>
            <a:pPr algn="ctr"/>
            <a:r>
              <a:rPr lang="en-US" sz="1600" b="1">
                <a:solidFill>
                  <a:schemeClr val="accent1"/>
                </a:solidFill>
              </a:rPr>
              <a:t>Additional rules </a:t>
            </a:r>
            <a:r>
              <a:rPr lang="en-US" sz="1600"/>
              <a:t>applying only to systems with “high impact capabilities” or where Commission determines so</a:t>
            </a:r>
            <a:endParaRPr lang="nl-NL" sz="1600"/>
          </a:p>
        </p:txBody>
      </p:sp>
      <p:sp>
        <p:nvSpPr>
          <p:cNvPr id="18" name="TextBox 17">
            <a:extLst>
              <a:ext uri="{FF2B5EF4-FFF2-40B4-BE49-F238E27FC236}">
                <a16:creationId xmlns:a16="http://schemas.microsoft.com/office/drawing/2014/main" id="{3F1BBA63-BB04-DCDC-F408-DD893CB07D08}"/>
              </a:ext>
            </a:extLst>
          </p:cNvPr>
          <p:cNvSpPr txBox="1"/>
          <p:nvPr/>
        </p:nvSpPr>
        <p:spPr>
          <a:xfrm>
            <a:off x="6830007" y="2119710"/>
            <a:ext cx="4700898" cy="2369880"/>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400"/>
              <a:t>Keeping </a:t>
            </a:r>
            <a:r>
              <a:rPr lang="en-US" sz="1400" b="1"/>
              <a:t>technical documentation </a:t>
            </a:r>
            <a:r>
              <a:rPr lang="en-US" sz="1400"/>
              <a:t>about the training and testing process</a:t>
            </a:r>
          </a:p>
          <a:p>
            <a:pPr marL="285750" indent="-285750">
              <a:spcAft>
                <a:spcPts val="600"/>
              </a:spcAft>
              <a:buFont typeface="Arial" panose="020B0604020202020204" pitchFamily="34" charset="0"/>
              <a:buChar char="•"/>
            </a:pPr>
            <a:r>
              <a:rPr lang="en-US" sz="1400"/>
              <a:t>Publishing </a:t>
            </a:r>
            <a:r>
              <a:rPr lang="en-US" sz="1400" b="1"/>
              <a:t>information for downstream users </a:t>
            </a:r>
            <a:r>
              <a:rPr lang="en-US" sz="1400"/>
              <a:t>of the </a:t>
            </a:r>
            <a:r>
              <a:rPr lang="en-US" sz="1400" err="1"/>
              <a:t>GPAI</a:t>
            </a:r>
            <a:r>
              <a:rPr lang="en-US" sz="1400"/>
              <a:t> (who intend to integrate the </a:t>
            </a:r>
            <a:r>
              <a:rPr lang="en-US" sz="1400" err="1"/>
              <a:t>GPAI</a:t>
            </a:r>
            <a:r>
              <a:rPr lang="en-US" sz="1400"/>
              <a:t> into their own AI system) </a:t>
            </a:r>
          </a:p>
          <a:p>
            <a:pPr marL="285750" indent="-285750">
              <a:spcAft>
                <a:spcPts val="600"/>
              </a:spcAft>
              <a:buFont typeface="Arial" panose="020B0604020202020204" pitchFamily="34" charset="0"/>
              <a:buChar char="•"/>
            </a:pPr>
            <a:r>
              <a:rPr lang="en-US" sz="1400"/>
              <a:t>Creating a </a:t>
            </a:r>
            <a:r>
              <a:rPr lang="en-US" sz="1400" b="1"/>
              <a:t>policy</a:t>
            </a:r>
            <a:r>
              <a:rPr lang="en-US" sz="1400"/>
              <a:t> to respect union </a:t>
            </a:r>
            <a:r>
              <a:rPr lang="en-US" sz="1400" b="1"/>
              <a:t>copyright law</a:t>
            </a:r>
            <a:r>
              <a:rPr lang="en-US" sz="1400"/>
              <a:t> </a:t>
            </a:r>
          </a:p>
          <a:p>
            <a:pPr marL="285750" indent="-285750">
              <a:spcAft>
                <a:spcPts val="600"/>
              </a:spcAft>
              <a:buFont typeface="Arial" panose="020B0604020202020204" pitchFamily="34" charset="0"/>
              <a:buChar char="•"/>
            </a:pPr>
            <a:r>
              <a:rPr lang="en-US" sz="1400"/>
              <a:t>Publishing a </a:t>
            </a:r>
            <a:r>
              <a:rPr lang="en-US" sz="1400" b="1"/>
              <a:t>summary of content used for the training</a:t>
            </a:r>
            <a:r>
              <a:rPr lang="en-US" sz="1400"/>
              <a:t> of the model</a:t>
            </a:r>
          </a:p>
          <a:p>
            <a:pPr marL="285750" indent="-285750">
              <a:spcAft>
                <a:spcPts val="600"/>
              </a:spcAft>
              <a:buFont typeface="Arial" panose="020B0604020202020204" pitchFamily="34" charset="0"/>
              <a:buChar char="•"/>
            </a:pPr>
            <a:endParaRPr lang="nl-NL" sz="1600"/>
          </a:p>
        </p:txBody>
      </p:sp>
      <p:sp>
        <p:nvSpPr>
          <p:cNvPr id="19" name="TextBox 18">
            <a:extLst>
              <a:ext uri="{FF2B5EF4-FFF2-40B4-BE49-F238E27FC236}">
                <a16:creationId xmlns:a16="http://schemas.microsoft.com/office/drawing/2014/main" id="{E175C05A-C4D8-1DB8-1165-4528A950CC70}"/>
              </a:ext>
            </a:extLst>
          </p:cNvPr>
          <p:cNvSpPr txBox="1"/>
          <p:nvPr/>
        </p:nvSpPr>
        <p:spPr>
          <a:xfrm>
            <a:off x="6830006" y="4957284"/>
            <a:ext cx="4846054" cy="1107996"/>
          </a:xfrm>
          <a:prstGeom prst="rect">
            <a:avLst/>
          </a:prstGeom>
          <a:noFill/>
        </p:spPr>
        <p:txBody>
          <a:bodyPr wrap="square" lIns="0" rIns="0" rtlCol="0">
            <a:spAutoFit/>
          </a:bodyPr>
          <a:lstStyle/>
          <a:p>
            <a:pPr marL="285750" indent="-285750">
              <a:spcAft>
                <a:spcPts val="600"/>
              </a:spcAft>
              <a:buFont typeface="Arial" panose="020B0604020202020204" pitchFamily="34" charset="0"/>
              <a:buChar char="•"/>
            </a:pPr>
            <a:r>
              <a:rPr lang="en-US" sz="1400"/>
              <a:t>Performing </a:t>
            </a:r>
            <a:r>
              <a:rPr lang="en-US" sz="1400" b="1"/>
              <a:t>risk assessments </a:t>
            </a:r>
            <a:r>
              <a:rPr lang="en-US" sz="1400"/>
              <a:t>to identify and mitigate systemic risk including at Union level</a:t>
            </a:r>
          </a:p>
          <a:p>
            <a:pPr marL="285750" indent="-285750">
              <a:spcAft>
                <a:spcPts val="600"/>
              </a:spcAft>
              <a:buFont typeface="Arial" panose="020B0604020202020204" pitchFamily="34" charset="0"/>
              <a:buChar char="•"/>
            </a:pPr>
            <a:r>
              <a:rPr lang="en-US" sz="1400"/>
              <a:t>Monitoring, documenting and reporting </a:t>
            </a:r>
            <a:r>
              <a:rPr lang="en-US" sz="1400" b="1"/>
              <a:t>serious incidents</a:t>
            </a:r>
          </a:p>
          <a:p>
            <a:pPr marL="285750" indent="-285750">
              <a:spcAft>
                <a:spcPts val="600"/>
              </a:spcAft>
              <a:buFont typeface="Arial" panose="020B0604020202020204" pitchFamily="34" charset="0"/>
              <a:buChar char="•"/>
            </a:pPr>
            <a:r>
              <a:rPr lang="en-US" sz="1400"/>
              <a:t>Implementing adequate </a:t>
            </a:r>
            <a:r>
              <a:rPr lang="en-US" sz="1400" b="1"/>
              <a:t>cybersecurity</a:t>
            </a:r>
            <a:endParaRPr lang="nl-NL" sz="1400" b="1"/>
          </a:p>
        </p:txBody>
      </p:sp>
      <p:sp>
        <p:nvSpPr>
          <p:cNvPr id="20" name="TextBox 19">
            <a:extLst>
              <a:ext uri="{FF2B5EF4-FFF2-40B4-BE49-F238E27FC236}">
                <a16:creationId xmlns:a16="http://schemas.microsoft.com/office/drawing/2014/main" id="{85A4AEB0-1B14-CD27-6043-69622FFCAD4B}"/>
              </a:ext>
            </a:extLst>
          </p:cNvPr>
          <p:cNvSpPr txBox="1"/>
          <p:nvPr/>
        </p:nvSpPr>
        <p:spPr>
          <a:xfrm>
            <a:off x="3951508" y="1535658"/>
            <a:ext cx="1614196" cy="369332"/>
          </a:xfrm>
          <a:prstGeom prst="rect">
            <a:avLst/>
          </a:prstGeom>
          <a:noFill/>
        </p:spPr>
        <p:txBody>
          <a:bodyPr wrap="square" rtlCol="0">
            <a:spAutoFit/>
          </a:bodyPr>
          <a:lstStyle/>
          <a:p>
            <a:pPr algn="ctr"/>
            <a:r>
              <a:rPr lang="en-US" i="1"/>
              <a:t>Applicability</a:t>
            </a:r>
            <a:endParaRPr lang="nl-NL" i="1"/>
          </a:p>
        </p:txBody>
      </p:sp>
      <p:sp>
        <p:nvSpPr>
          <p:cNvPr id="21" name="TextBox 20">
            <a:extLst>
              <a:ext uri="{FF2B5EF4-FFF2-40B4-BE49-F238E27FC236}">
                <a16:creationId xmlns:a16="http://schemas.microsoft.com/office/drawing/2014/main" id="{3BE9314C-0FEC-203F-1C51-EAF247F7C98B}"/>
              </a:ext>
            </a:extLst>
          </p:cNvPr>
          <p:cNvSpPr txBox="1"/>
          <p:nvPr/>
        </p:nvSpPr>
        <p:spPr>
          <a:xfrm>
            <a:off x="6830007" y="1493992"/>
            <a:ext cx="1875454" cy="369332"/>
          </a:xfrm>
          <a:prstGeom prst="rect">
            <a:avLst/>
          </a:prstGeom>
          <a:noFill/>
        </p:spPr>
        <p:txBody>
          <a:bodyPr wrap="square" rtlCol="0">
            <a:spAutoFit/>
          </a:bodyPr>
          <a:lstStyle/>
          <a:p>
            <a:r>
              <a:rPr lang="en-US" i="1"/>
              <a:t>Rules</a:t>
            </a:r>
            <a:endParaRPr lang="nl-NL" i="1"/>
          </a:p>
        </p:txBody>
      </p:sp>
      <p:sp>
        <p:nvSpPr>
          <p:cNvPr id="23" name="Plus Sign 22">
            <a:extLst>
              <a:ext uri="{FF2B5EF4-FFF2-40B4-BE49-F238E27FC236}">
                <a16:creationId xmlns:a16="http://schemas.microsoft.com/office/drawing/2014/main" id="{537B7142-26E4-8001-DD59-4243E058A81F}"/>
              </a:ext>
            </a:extLst>
          </p:cNvPr>
          <p:cNvSpPr/>
          <p:nvPr/>
        </p:nvSpPr>
        <p:spPr>
          <a:xfrm>
            <a:off x="1302997" y="4508981"/>
            <a:ext cx="410548" cy="359115"/>
          </a:xfrm>
          <a:prstGeom prst="mathPlus">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 name="Picture 2">
            <a:extLst>
              <a:ext uri="{FF2B5EF4-FFF2-40B4-BE49-F238E27FC236}">
                <a16:creationId xmlns:a16="http://schemas.microsoft.com/office/drawing/2014/main" id="{E738B2DE-E790-7FF8-E8CA-DAA5DB7A035F}"/>
              </a:ext>
            </a:extLst>
          </p:cNvPr>
          <p:cNvPicPr>
            <a:picLocks noChangeAspect="1" noChangeArrowheads="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auto">
          <a:xfrm>
            <a:off x="10670266" y="325354"/>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76427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AA2AC48-82AA-5062-56C2-ED08104E78E0}"/>
              </a:ext>
            </a:extLst>
          </p:cNvPr>
          <p:cNvSpPr>
            <a:spLocks noGrp="1"/>
          </p:cNvSpPr>
          <p:nvPr>
            <p:ph type="title"/>
          </p:nvPr>
        </p:nvSpPr>
        <p:spPr>
          <a:xfrm>
            <a:off x="261938" y="862906"/>
            <a:ext cx="6929816" cy="1694844"/>
          </a:xfrm>
        </p:spPr>
        <p:txBody>
          <a:bodyPr/>
          <a:lstStyle/>
          <a:p>
            <a:r>
              <a:rPr lang="en-GB" sz="5400" dirty="0">
                <a:latin typeface="Cambria"/>
                <a:ea typeface="Cambria"/>
              </a:rPr>
              <a:t>Evolving AI Regulatory </a:t>
            </a:r>
            <a:br>
              <a:rPr lang="en-GB" sz="5400" dirty="0">
                <a:latin typeface="Cambria"/>
                <a:ea typeface="Cambria"/>
              </a:rPr>
            </a:br>
            <a:r>
              <a:rPr lang="en-GB" sz="5400" dirty="0">
                <a:latin typeface="Cambria"/>
                <a:ea typeface="Cambria"/>
              </a:rPr>
              <a:t>Landscape</a:t>
            </a:r>
            <a:endParaRPr lang="en-GB" sz="5400" dirty="0">
              <a:ea typeface="Cambria"/>
            </a:endParaRPr>
          </a:p>
        </p:txBody>
      </p:sp>
      <p:sp>
        <p:nvSpPr>
          <p:cNvPr id="3" name="Slide Number Placeholder 2">
            <a:extLst>
              <a:ext uri="{FF2B5EF4-FFF2-40B4-BE49-F238E27FC236}">
                <a16:creationId xmlns:a16="http://schemas.microsoft.com/office/drawing/2014/main" id="{11BC675F-4E24-58D6-DC04-8B49B2E5B7D2}"/>
              </a:ext>
            </a:extLst>
          </p:cNvPr>
          <p:cNvSpPr>
            <a:spLocks noGrp="1"/>
          </p:cNvSpPr>
          <p:nvPr>
            <p:ph type="sldNum" sz="quarter" idx="4"/>
          </p:nvPr>
        </p:nvSpPr>
        <p:spPr/>
        <p:txBody>
          <a:bodyPr/>
          <a:lstStyle/>
          <a:p>
            <a:fld id="{F9591D4C-BB8F-AE46-BE73-C616F30BBC5B}" type="slidenum">
              <a:rPr lang="en-US" smtClean="0"/>
              <a:pPr/>
              <a:t>2</a:t>
            </a:fld>
            <a:endParaRPr lang="en-US"/>
          </a:p>
        </p:txBody>
      </p:sp>
    </p:spTree>
    <p:extLst>
      <p:ext uri="{BB962C8B-B14F-4D97-AF65-F5344CB8AC3E}">
        <p14:creationId xmlns:p14="http://schemas.microsoft.com/office/powerpoint/2010/main" val="3464746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FB468A59-3C22-44EE-ADDE-927AEE03FD69}"/>
              </a:ext>
            </a:extLst>
          </p:cNvPr>
          <p:cNvGraphicFramePr>
            <a:graphicFrameLocks noGrp="1"/>
          </p:cNvGraphicFramePr>
          <p:nvPr>
            <p:ph sz="quarter" idx="18"/>
          </p:nvPr>
        </p:nvGraphicFramePr>
        <p:xfrm>
          <a:off x="526574" y="1532285"/>
          <a:ext cx="4833301" cy="44265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8B4FAFD1-DA83-4CA2-8506-7A81DAE8FFB4}"/>
              </a:ext>
            </a:extLst>
          </p:cNvPr>
          <p:cNvSpPr>
            <a:spLocks noGrp="1"/>
          </p:cNvSpPr>
          <p:nvPr>
            <p:ph type="sldNum" sz="quarter" idx="12"/>
          </p:nvPr>
        </p:nvSpPr>
        <p:spPr/>
        <p:txBody>
          <a:bodyPr/>
          <a:lstStyle/>
          <a:p>
            <a:fld id="{F9591D4C-BB8F-AE46-BE73-C616F30BBC5B}" type="slidenum">
              <a:rPr lang="en-US" smtClean="0"/>
              <a:pPr/>
              <a:t>20</a:t>
            </a:fld>
            <a:endParaRPr lang="en-US"/>
          </a:p>
        </p:txBody>
      </p:sp>
      <p:sp>
        <p:nvSpPr>
          <p:cNvPr id="5" name="Text Placeholder 4">
            <a:extLst>
              <a:ext uri="{FF2B5EF4-FFF2-40B4-BE49-F238E27FC236}">
                <a16:creationId xmlns:a16="http://schemas.microsoft.com/office/drawing/2014/main" id="{37ACB496-9ACD-4C40-9A7A-C62745394B8A}"/>
              </a:ext>
            </a:extLst>
          </p:cNvPr>
          <p:cNvSpPr>
            <a:spLocks noGrp="1"/>
          </p:cNvSpPr>
          <p:nvPr>
            <p:ph type="body" sz="quarter" idx="15"/>
          </p:nvPr>
        </p:nvSpPr>
        <p:spPr/>
        <p:txBody>
          <a:bodyPr/>
          <a:lstStyle/>
          <a:p>
            <a:r>
              <a:rPr lang="en-GB"/>
              <a:t>A significant burden</a:t>
            </a:r>
          </a:p>
        </p:txBody>
      </p:sp>
      <p:sp>
        <p:nvSpPr>
          <p:cNvPr id="6" name="Title 5">
            <a:extLst>
              <a:ext uri="{FF2B5EF4-FFF2-40B4-BE49-F238E27FC236}">
                <a16:creationId xmlns:a16="http://schemas.microsoft.com/office/drawing/2014/main" id="{4198B270-1159-4ECA-8D9B-C5114674EC2F}"/>
              </a:ext>
            </a:extLst>
          </p:cNvPr>
          <p:cNvSpPr>
            <a:spLocks noGrp="1"/>
          </p:cNvSpPr>
          <p:nvPr>
            <p:ph type="title"/>
          </p:nvPr>
        </p:nvSpPr>
        <p:spPr/>
        <p:txBody>
          <a:bodyPr/>
          <a:lstStyle/>
          <a:p>
            <a:r>
              <a:rPr lang="en-GB"/>
              <a:t>Requirements for High Risk AI Systems</a:t>
            </a:r>
          </a:p>
        </p:txBody>
      </p:sp>
      <p:graphicFrame>
        <p:nvGraphicFramePr>
          <p:cNvPr id="8" name="Content Placeholder 6">
            <a:extLst>
              <a:ext uri="{FF2B5EF4-FFF2-40B4-BE49-F238E27FC236}">
                <a16:creationId xmlns:a16="http://schemas.microsoft.com/office/drawing/2014/main" id="{BD87443E-4BC9-42F1-8AFE-E9D915FD7523}"/>
              </a:ext>
            </a:extLst>
          </p:cNvPr>
          <p:cNvGraphicFramePr>
            <a:graphicFrameLocks noGrp="1"/>
          </p:cNvGraphicFramePr>
          <p:nvPr>
            <p:ph sz="quarter" idx="18"/>
          </p:nvPr>
        </p:nvGraphicFramePr>
        <p:xfrm>
          <a:off x="6931184" y="2065884"/>
          <a:ext cx="4833301" cy="335935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TextBox 8">
            <a:extLst>
              <a:ext uri="{FF2B5EF4-FFF2-40B4-BE49-F238E27FC236}">
                <a16:creationId xmlns:a16="http://schemas.microsoft.com/office/drawing/2014/main" id="{B485A7F8-D861-49FE-94F3-CE7374CECF79}"/>
              </a:ext>
            </a:extLst>
          </p:cNvPr>
          <p:cNvSpPr txBox="1"/>
          <p:nvPr/>
        </p:nvSpPr>
        <p:spPr>
          <a:xfrm>
            <a:off x="1729740" y="1541538"/>
            <a:ext cx="2228850" cy="369332"/>
          </a:xfrm>
          <a:prstGeom prst="rect">
            <a:avLst/>
          </a:prstGeom>
          <a:noFill/>
        </p:spPr>
        <p:txBody>
          <a:bodyPr wrap="square" rtlCol="0">
            <a:spAutoFit/>
          </a:bodyPr>
          <a:lstStyle/>
          <a:p>
            <a:pPr algn="ctr"/>
            <a:r>
              <a:rPr lang="en-GB"/>
              <a:t>Requirements</a:t>
            </a:r>
          </a:p>
        </p:txBody>
      </p:sp>
      <p:sp>
        <p:nvSpPr>
          <p:cNvPr id="10" name="TextBox 9">
            <a:extLst>
              <a:ext uri="{FF2B5EF4-FFF2-40B4-BE49-F238E27FC236}">
                <a16:creationId xmlns:a16="http://schemas.microsoft.com/office/drawing/2014/main" id="{AFB1A1CA-BF27-4759-9014-A975DDC0CCDB}"/>
              </a:ext>
            </a:extLst>
          </p:cNvPr>
          <p:cNvSpPr txBox="1"/>
          <p:nvPr/>
        </p:nvSpPr>
        <p:spPr>
          <a:xfrm>
            <a:off x="8233410" y="1530396"/>
            <a:ext cx="2228850" cy="369332"/>
          </a:xfrm>
          <a:prstGeom prst="rect">
            <a:avLst/>
          </a:prstGeom>
          <a:noFill/>
        </p:spPr>
        <p:txBody>
          <a:bodyPr wrap="square" rtlCol="0">
            <a:spAutoFit/>
          </a:bodyPr>
          <a:lstStyle/>
          <a:p>
            <a:pPr algn="ctr"/>
            <a:r>
              <a:rPr lang="en-GB"/>
              <a:t>Conformity Regime</a:t>
            </a:r>
          </a:p>
        </p:txBody>
      </p:sp>
      <p:sp>
        <p:nvSpPr>
          <p:cNvPr id="2" name="TextBox 1">
            <a:extLst>
              <a:ext uri="{FF2B5EF4-FFF2-40B4-BE49-F238E27FC236}">
                <a16:creationId xmlns:a16="http://schemas.microsoft.com/office/drawing/2014/main" id="{48073A25-87BD-413B-BB22-E12A3E264BA2}"/>
              </a:ext>
            </a:extLst>
          </p:cNvPr>
          <p:cNvSpPr txBox="1"/>
          <p:nvPr/>
        </p:nvSpPr>
        <p:spPr>
          <a:xfrm>
            <a:off x="670560" y="5651863"/>
            <a:ext cx="11093925" cy="646331"/>
          </a:xfrm>
          <a:prstGeom prst="rect">
            <a:avLst/>
          </a:prstGeom>
          <a:noFill/>
        </p:spPr>
        <p:txBody>
          <a:bodyPr wrap="square" rtlCol="0">
            <a:spAutoFit/>
          </a:bodyPr>
          <a:lstStyle/>
          <a:p>
            <a:r>
              <a:rPr lang="en-GB" i="1"/>
              <a:t>This summary is </a:t>
            </a:r>
            <a:r>
              <a:rPr lang="en-GB" i="1" u="sng"/>
              <a:t>only</a:t>
            </a:r>
            <a:r>
              <a:rPr lang="en-GB" i="1"/>
              <a:t> of the AI Act requirements for high risk AI.  Many other laws will engage (e.g. GDPR and data protection laws; e.g. employment laws; e.g. anti-trust) which will need to be considered.  </a:t>
            </a:r>
          </a:p>
        </p:txBody>
      </p:sp>
      <p:pic>
        <p:nvPicPr>
          <p:cNvPr id="3" name="Picture 2">
            <a:extLst>
              <a:ext uri="{FF2B5EF4-FFF2-40B4-BE49-F238E27FC236}">
                <a16:creationId xmlns:a16="http://schemas.microsoft.com/office/drawing/2014/main" id="{D821BCCD-DB37-ADB5-69DF-98310AB3816E}"/>
              </a:ext>
            </a:extLst>
          </p:cNvPr>
          <p:cNvPicPr>
            <a:picLocks noChangeAspect="1" noChangeArrowheads="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bwMode="auto">
          <a:xfrm>
            <a:off x="10670265" y="282222"/>
            <a:ext cx="1262942" cy="663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7310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18508A5-229B-4A89-B534-DD320EFF42AB}"/>
              </a:ext>
            </a:extLst>
          </p:cNvPr>
          <p:cNvSpPr>
            <a:spLocks noGrp="1"/>
          </p:cNvSpPr>
          <p:nvPr>
            <p:ph type="body" idx="1"/>
          </p:nvPr>
        </p:nvSpPr>
        <p:spPr/>
        <p:txBody>
          <a:bodyPr>
            <a:normAutofit/>
          </a:bodyPr>
          <a:lstStyle/>
          <a:p>
            <a:r>
              <a:rPr lang="en-GB"/>
              <a:t>Common themes can be identified around    </a:t>
            </a:r>
          </a:p>
        </p:txBody>
      </p:sp>
      <p:sp>
        <p:nvSpPr>
          <p:cNvPr id="4" name="Slide Number Placeholder 3">
            <a:extLst>
              <a:ext uri="{FF2B5EF4-FFF2-40B4-BE49-F238E27FC236}">
                <a16:creationId xmlns:a16="http://schemas.microsoft.com/office/drawing/2014/main" id="{6E894284-A1AC-40B8-A3C2-9D91CE5882B9}"/>
              </a:ext>
            </a:extLst>
          </p:cNvPr>
          <p:cNvSpPr>
            <a:spLocks noGrp="1"/>
          </p:cNvSpPr>
          <p:nvPr>
            <p:ph type="sldNum" sz="quarter" idx="12"/>
          </p:nvPr>
        </p:nvSpPr>
        <p:spPr/>
        <p:txBody>
          <a:bodyPr/>
          <a:lstStyle/>
          <a:p>
            <a:fld id="{F9591D4C-BB8F-AE46-BE73-C616F30BBC5B}" type="slidenum">
              <a:rPr lang="en-US" smtClean="0"/>
              <a:t>21</a:t>
            </a:fld>
            <a:endParaRPr lang="en-US"/>
          </a:p>
        </p:txBody>
      </p:sp>
      <p:sp>
        <p:nvSpPr>
          <p:cNvPr id="7" name="Title 6">
            <a:extLst>
              <a:ext uri="{FF2B5EF4-FFF2-40B4-BE49-F238E27FC236}">
                <a16:creationId xmlns:a16="http://schemas.microsoft.com/office/drawing/2014/main" id="{C68E015E-7146-4D38-9E7A-4096F466D3C6}"/>
              </a:ext>
            </a:extLst>
          </p:cNvPr>
          <p:cNvSpPr>
            <a:spLocks noGrp="1"/>
          </p:cNvSpPr>
          <p:nvPr>
            <p:ph type="title"/>
          </p:nvPr>
        </p:nvSpPr>
        <p:spPr/>
        <p:txBody>
          <a:bodyPr/>
          <a:lstStyle/>
          <a:p>
            <a:r>
              <a:rPr lang="en-GB"/>
              <a:t>AI Common Ground   </a:t>
            </a:r>
          </a:p>
        </p:txBody>
      </p:sp>
      <p:sp>
        <p:nvSpPr>
          <p:cNvPr id="11" name="Content Placeholder 10">
            <a:extLst>
              <a:ext uri="{FF2B5EF4-FFF2-40B4-BE49-F238E27FC236}">
                <a16:creationId xmlns:a16="http://schemas.microsoft.com/office/drawing/2014/main" id="{CED30062-E16F-4321-AE34-1A2AE334858D}"/>
              </a:ext>
            </a:extLst>
          </p:cNvPr>
          <p:cNvSpPr>
            <a:spLocks noGrp="1"/>
          </p:cNvSpPr>
          <p:nvPr>
            <p:ph sz="quarter" idx="19"/>
          </p:nvPr>
        </p:nvSpPr>
        <p:spPr/>
        <p:txBody>
          <a:bodyPr/>
          <a:lstStyle/>
          <a:p>
            <a:r>
              <a:rPr lang="en-GB"/>
              <a:t>Transparency and Explainability</a:t>
            </a:r>
          </a:p>
          <a:p>
            <a:r>
              <a:rPr lang="en-GB"/>
              <a:t>Accuracy</a:t>
            </a:r>
          </a:p>
          <a:p>
            <a:r>
              <a:rPr lang="en-GB"/>
              <a:t>Robustness and security</a:t>
            </a:r>
          </a:p>
          <a:p>
            <a:r>
              <a:rPr lang="en-GB"/>
              <a:t>Accountability</a:t>
            </a:r>
          </a:p>
          <a:p>
            <a:r>
              <a:rPr lang="en-GB"/>
              <a:t>Human values and fairness</a:t>
            </a:r>
          </a:p>
          <a:p>
            <a:pPr marL="0" indent="0">
              <a:buNone/>
            </a:pPr>
            <a:endParaRPr lang="en-GB" b="1"/>
          </a:p>
          <a:p>
            <a:r>
              <a:rPr lang="en-GB"/>
              <a:t>Exposure to fines, sanctions, claims for compensation and reputational risk, including arising under </a:t>
            </a:r>
            <a:r>
              <a:rPr lang="en-GB" i="1"/>
              <a:t>existing </a:t>
            </a:r>
            <a:r>
              <a:rPr lang="en-GB"/>
              <a:t>laws</a:t>
            </a:r>
          </a:p>
          <a:p>
            <a:r>
              <a:rPr lang="en-GB"/>
              <a:t>Risk of duplication of effort and inefficient use of resources and a larger legacy problem to address</a:t>
            </a:r>
          </a:p>
          <a:p>
            <a:r>
              <a:rPr lang="en-GB"/>
              <a:t>Discouraging and delaying AI adoption</a:t>
            </a:r>
          </a:p>
          <a:p>
            <a:pPr marL="0" indent="0">
              <a:buNone/>
            </a:pPr>
            <a:endParaRPr lang="en-GB"/>
          </a:p>
        </p:txBody>
      </p:sp>
      <p:sp>
        <p:nvSpPr>
          <p:cNvPr id="2" name="Footer Placeholder 1">
            <a:extLst>
              <a:ext uri="{FF2B5EF4-FFF2-40B4-BE49-F238E27FC236}">
                <a16:creationId xmlns:a16="http://schemas.microsoft.com/office/drawing/2014/main" id="{3CF83BA1-B469-4863-9703-2DAFE8C30493}"/>
              </a:ext>
            </a:extLst>
          </p:cNvPr>
          <p:cNvSpPr>
            <a:spLocks noGrp="1"/>
          </p:cNvSpPr>
          <p:nvPr>
            <p:ph type="ftr" sz="quarter" idx="17"/>
          </p:nvPr>
        </p:nvSpPr>
        <p:spPr/>
        <p:txBody>
          <a:bodyPr/>
          <a:lstStyle/>
          <a:p>
            <a:endParaRPr lang="en-US"/>
          </a:p>
        </p:txBody>
      </p:sp>
      <p:sp>
        <p:nvSpPr>
          <p:cNvPr id="9" name="Text Placeholder 7">
            <a:extLst>
              <a:ext uri="{FF2B5EF4-FFF2-40B4-BE49-F238E27FC236}">
                <a16:creationId xmlns:a16="http://schemas.microsoft.com/office/drawing/2014/main" id="{8F54A801-B8ED-4AFA-8C44-4250AC18A90E}"/>
              </a:ext>
            </a:extLst>
          </p:cNvPr>
          <p:cNvSpPr txBox="1">
            <a:spLocks/>
          </p:cNvSpPr>
          <p:nvPr/>
        </p:nvSpPr>
        <p:spPr>
          <a:xfrm>
            <a:off x="518699" y="4014499"/>
            <a:ext cx="7389435" cy="435600"/>
          </a:xfrm>
          <a:prstGeom prst="rect">
            <a:avLst/>
          </a:prstGeom>
        </p:spPr>
        <p:txBody>
          <a:bodyPr vert="horz" lIns="0" tIns="0" rIns="0" bIns="0" spcCol="137160" rtlCol="0" anchor="t" anchorCtr="0">
            <a:normAutofit/>
          </a:bodyPr>
          <a:lstStyle>
            <a:lvl1pPr marL="0" indent="0" algn="l" defTabSz="914400" rtl="0" eaLnBrk="1" latinLnBrk="0" hangingPunct="1">
              <a:lnSpc>
                <a:spcPct val="100000"/>
              </a:lnSpc>
              <a:spcBef>
                <a:spcPts val="1000"/>
              </a:spcBef>
              <a:buClrTx/>
              <a:buFont typeface="Arial" panose="020B0604020202020204" pitchFamily="34" charset="0"/>
              <a:buNone/>
              <a:defRPr sz="2200" b="1" kern="1200" baseline="0">
                <a:solidFill>
                  <a:schemeClr val="accent6"/>
                </a:solidFill>
                <a:latin typeface="Cambria" panose="02040503050406030204" pitchFamily="18" charset="0"/>
                <a:ea typeface="+mn-ea"/>
                <a:cs typeface="+mn-cs"/>
              </a:defRPr>
            </a:lvl1pPr>
            <a:lvl2pPr marL="457200" indent="0" algn="l" defTabSz="914400" rtl="0" eaLnBrk="1" latinLnBrk="0" hangingPunct="1">
              <a:lnSpc>
                <a:spcPts val="2200"/>
              </a:lnSpc>
              <a:spcBef>
                <a:spcPts val="500"/>
              </a:spcBef>
              <a:buClr>
                <a:schemeClr val="bg2">
                  <a:lumMod val="50000"/>
                </a:schemeClr>
              </a:buClr>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ts val="2200"/>
              </a:lnSpc>
              <a:spcBef>
                <a:spcPts val="500"/>
              </a:spcBef>
              <a:buClr>
                <a:schemeClr val="bg2">
                  <a:lumMod val="75000"/>
                </a:schemeClr>
              </a:buClr>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ts val="2200"/>
              </a:lnSpc>
              <a:spcBef>
                <a:spcPts val="500"/>
              </a:spcBef>
              <a:buClr>
                <a:schemeClr val="bg1">
                  <a:lumMod val="75000"/>
                </a:schemeClr>
              </a:buClr>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ts val="2200"/>
              </a:lnSpc>
              <a:spcBef>
                <a:spcPts val="500"/>
              </a:spcBef>
              <a:buClr>
                <a:schemeClr val="bg1">
                  <a:lumMod val="75000"/>
                </a:schemeClr>
              </a:buClr>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Clr>
                <a:schemeClr val="bg1">
                  <a:lumMod val="75000"/>
                </a:schemeClr>
              </a:buClr>
              <a:buFont typeface="Arial" panose="020B0604020202020204" pitchFamily="34" charset="0"/>
              <a:buNone/>
              <a:tabLst/>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Clr>
                <a:schemeClr val="bg1">
                  <a:lumMod val="75000"/>
                </a:schemeClr>
              </a:buClr>
              <a:buFont typeface="Arial" panose="020B0604020202020204" pitchFamily="34" charset="0"/>
              <a:buNone/>
              <a:tabLst/>
              <a:defRPr sz="1600" b="1" kern="1200" baseline="0">
                <a:solidFill>
                  <a:schemeClr val="tx1"/>
                </a:solidFill>
                <a:latin typeface="+mn-lt"/>
                <a:ea typeface="+mn-ea"/>
                <a:cs typeface="+mn-cs"/>
              </a:defRPr>
            </a:lvl7pPr>
            <a:lvl8pPr marL="3200400" indent="0" algn="l" defTabSz="914400" rtl="0" eaLnBrk="1" latinLnBrk="0" hangingPunct="1">
              <a:lnSpc>
                <a:spcPct val="90000"/>
              </a:lnSpc>
              <a:spcBef>
                <a:spcPts val="500"/>
              </a:spcBef>
              <a:buClr>
                <a:schemeClr val="bg1">
                  <a:lumMod val="75000"/>
                </a:schemeClr>
              </a:buClr>
              <a:buFont typeface="Arial" panose="020B0604020202020204" pitchFamily="34" charset="0"/>
              <a:buNone/>
              <a:tabLst/>
              <a:defRPr sz="1600" b="1" kern="1200" baseline="0">
                <a:solidFill>
                  <a:schemeClr val="tx1"/>
                </a:solidFill>
                <a:latin typeface="+mn-lt"/>
                <a:ea typeface="+mn-ea"/>
                <a:cs typeface="+mn-cs"/>
              </a:defRPr>
            </a:lvl8pPr>
            <a:lvl9pPr marL="3657600" indent="0" algn="l" defTabSz="914400" rtl="0" eaLnBrk="1" latinLnBrk="0" hangingPunct="1">
              <a:lnSpc>
                <a:spcPct val="90000"/>
              </a:lnSpc>
              <a:spcBef>
                <a:spcPts val="500"/>
              </a:spcBef>
              <a:buClr>
                <a:schemeClr val="accent5">
                  <a:lumMod val="75000"/>
                </a:schemeClr>
              </a:buClr>
              <a:buFont typeface="Arial" panose="020B0604020202020204" pitchFamily="34" charset="0"/>
              <a:buNone/>
              <a:defRPr sz="1600" b="1" kern="1200" baseline="0">
                <a:solidFill>
                  <a:schemeClr val="tx1"/>
                </a:solidFill>
                <a:latin typeface="+mn-lt"/>
                <a:ea typeface="+mn-ea"/>
                <a:cs typeface="+mn-cs"/>
              </a:defRPr>
            </a:lvl9pPr>
          </a:lstStyle>
          <a:p>
            <a:r>
              <a:rPr lang="en-GB"/>
              <a:t>Failure to manage AI risk effectively may result in:</a:t>
            </a:r>
          </a:p>
        </p:txBody>
      </p:sp>
      <p:pic>
        <p:nvPicPr>
          <p:cNvPr id="10" name="Picture Placeholder 9" descr="Cute yellow robot">
            <a:extLst>
              <a:ext uri="{FF2B5EF4-FFF2-40B4-BE49-F238E27FC236}">
                <a16:creationId xmlns:a16="http://schemas.microsoft.com/office/drawing/2014/main" id="{EDD277FA-D0DA-4267-AE36-4B1D64C97FCF}"/>
              </a:ext>
            </a:extLst>
          </p:cNvPr>
          <p:cNvPicPr>
            <a:picLocks noGrp="1" noChangeAspect="1"/>
          </p:cNvPicPr>
          <p:nvPr>
            <p:ph type="pic" sz="quarter" idx="18"/>
          </p:nvPr>
        </p:nvPicPr>
        <p:blipFill rotWithShape="1">
          <a:blip r:embed="rId3" cstate="screen">
            <a:extLst>
              <a:ext uri="{28A0092B-C50C-407E-A947-70E740481C1C}">
                <a14:useLocalDpi xmlns:a14="http://schemas.microsoft.com/office/drawing/2010/main" val="0"/>
              </a:ext>
            </a:extLst>
          </a:blip>
          <a:srcRect/>
          <a:stretch/>
        </p:blipFill>
        <p:spPr>
          <a:xfrm>
            <a:off x="8521549" y="0"/>
            <a:ext cx="3670450" cy="6581817"/>
          </a:xfrm>
        </p:spPr>
      </p:pic>
      <p:sp>
        <p:nvSpPr>
          <p:cNvPr id="3" name="Text Placeholder 4">
            <a:extLst>
              <a:ext uri="{FF2B5EF4-FFF2-40B4-BE49-F238E27FC236}">
                <a16:creationId xmlns:a16="http://schemas.microsoft.com/office/drawing/2014/main" id="{1C373D61-2BE6-8F59-9F0A-E6E1C57D360A}"/>
              </a:ext>
            </a:extLst>
          </p:cNvPr>
          <p:cNvSpPr>
            <a:spLocks noGrp="1"/>
          </p:cNvSpPr>
          <p:nvPr>
            <p:ph type="body" sz="quarter" idx="15"/>
          </p:nvPr>
        </p:nvSpPr>
        <p:spPr>
          <a:xfrm>
            <a:off x="515939" y="899161"/>
            <a:ext cx="7504656" cy="237308"/>
          </a:xfrm>
        </p:spPr>
        <p:txBody>
          <a:bodyPr/>
          <a:lstStyle/>
          <a:p>
            <a:r>
              <a:rPr lang="en-US"/>
              <a:t>AI is in the process of being regulated in many countries</a:t>
            </a:r>
          </a:p>
          <a:p>
            <a:endParaRPr lang="en-GB"/>
          </a:p>
        </p:txBody>
      </p:sp>
      <p:grpSp>
        <p:nvGrpSpPr>
          <p:cNvPr id="16" name="Group 15">
            <a:extLst>
              <a:ext uri="{FF2B5EF4-FFF2-40B4-BE49-F238E27FC236}">
                <a16:creationId xmlns:a16="http://schemas.microsoft.com/office/drawing/2014/main" id="{E4F4AC5A-69AF-64DA-6FEC-E99EFB5D098A}"/>
              </a:ext>
            </a:extLst>
          </p:cNvPr>
          <p:cNvGrpSpPr/>
          <p:nvPr/>
        </p:nvGrpSpPr>
        <p:grpSpPr>
          <a:xfrm>
            <a:off x="8521548" y="-610"/>
            <a:ext cx="3670450" cy="637919"/>
            <a:chOff x="6493957" y="-611"/>
            <a:chExt cx="5698041" cy="1000127"/>
          </a:xfrm>
        </p:grpSpPr>
        <p:pic>
          <p:nvPicPr>
            <p:cNvPr id="5" name="Picture 2">
              <a:extLst>
                <a:ext uri="{FF2B5EF4-FFF2-40B4-BE49-F238E27FC236}">
                  <a16:creationId xmlns:a16="http://schemas.microsoft.com/office/drawing/2014/main" id="{E3A0FBA1-D4F1-47D6-D4E8-846C5DB65B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93957" y="-609"/>
              <a:ext cx="1899347" cy="10001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Flag of the United States of America">
              <a:extLst>
                <a:ext uri="{FF2B5EF4-FFF2-40B4-BE49-F238E27FC236}">
                  <a16:creationId xmlns:a16="http://schemas.microsoft.com/office/drawing/2014/main" id="{C2AFDAEE-23AB-39BC-AD63-4A694D9816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93304" y="-611"/>
              <a:ext cx="1899347" cy="100012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4706B6B8-7E46-62D4-B194-506026E727AA}"/>
                </a:ext>
              </a:extLst>
            </p:cNvPr>
            <p:cNvGrpSpPr/>
            <p:nvPr/>
          </p:nvGrpSpPr>
          <p:grpSpPr>
            <a:xfrm>
              <a:off x="10292652" y="-611"/>
              <a:ext cx="1899346" cy="1000125"/>
              <a:chOff x="515938" y="3576202"/>
              <a:chExt cx="1899346" cy="1000125"/>
            </a:xfrm>
          </p:grpSpPr>
          <p:pic>
            <p:nvPicPr>
              <p:cNvPr id="13" name="Picture 6">
                <a:extLst>
                  <a:ext uri="{FF2B5EF4-FFF2-40B4-BE49-F238E27FC236}">
                    <a16:creationId xmlns:a16="http://schemas.microsoft.com/office/drawing/2014/main" id="{99707F87-5B28-FA9C-60E3-15D13F10362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5938" y="3576202"/>
                <a:ext cx="1500188" cy="100012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a:extLst>
                  <a:ext uri="{FF2B5EF4-FFF2-40B4-BE49-F238E27FC236}">
                    <a16:creationId xmlns:a16="http://schemas.microsoft.com/office/drawing/2014/main" id="{1DEFA674-8B67-1D65-FE8E-BC4728FAB9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5096" y="3576202"/>
                <a:ext cx="1500188" cy="10001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a:extLst>
                  <a:ext uri="{FF2B5EF4-FFF2-40B4-BE49-F238E27FC236}">
                    <a16:creationId xmlns:a16="http://schemas.microsoft.com/office/drawing/2014/main" id="{D3990FA9-A797-8337-18E5-7157D39C0EB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5517" y="3576202"/>
                <a:ext cx="1500188" cy="1000125"/>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5053660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145E4DA-CE9E-D8CD-17E1-0FD703235F6E}"/>
              </a:ext>
            </a:extLst>
          </p:cNvPr>
          <p:cNvSpPr>
            <a:spLocks noGrp="1"/>
          </p:cNvSpPr>
          <p:nvPr>
            <p:ph type="sldNum" sz="quarter" idx="12"/>
          </p:nvPr>
        </p:nvSpPr>
        <p:spPr/>
        <p:txBody>
          <a:bodyPr/>
          <a:lstStyle/>
          <a:p>
            <a:fld id="{F9591D4C-BB8F-AE46-BE73-C616F30BBC5B}" type="slidenum">
              <a:rPr lang="en-US" smtClean="0"/>
              <a:pPr/>
              <a:t>3</a:t>
            </a:fld>
            <a:endParaRPr lang="en-US"/>
          </a:p>
        </p:txBody>
      </p:sp>
      <p:sp>
        <p:nvSpPr>
          <p:cNvPr id="5" name="Title 4">
            <a:extLst>
              <a:ext uri="{FF2B5EF4-FFF2-40B4-BE49-F238E27FC236}">
                <a16:creationId xmlns:a16="http://schemas.microsoft.com/office/drawing/2014/main" id="{51238A0F-68E4-ADB1-ACEC-AEA05DE0E541}"/>
              </a:ext>
            </a:extLst>
          </p:cNvPr>
          <p:cNvSpPr>
            <a:spLocks noGrp="1"/>
          </p:cNvSpPr>
          <p:nvPr>
            <p:ph type="title"/>
          </p:nvPr>
        </p:nvSpPr>
        <p:spPr/>
        <p:txBody>
          <a:bodyPr/>
          <a:lstStyle/>
          <a:p>
            <a:r>
              <a:rPr lang="en-GB"/>
              <a:t>Different approaches to regulation</a:t>
            </a:r>
          </a:p>
        </p:txBody>
      </p:sp>
      <p:pic>
        <p:nvPicPr>
          <p:cNvPr id="2050" name="Picture 2">
            <a:extLst>
              <a:ext uri="{FF2B5EF4-FFF2-40B4-BE49-F238E27FC236}">
                <a16:creationId xmlns:a16="http://schemas.microsoft.com/office/drawing/2014/main" id="{AC864E6C-5B98-EB82-4CE3-F8BC358A87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938" y="2428875"/>
            <a:ext cx="1899347" cy="10001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Flag of the United States of America">
            <a:extLst>
              <a:ext uri="{FF2B5EF4-FFF2-40B4-BE49-F238E27FC236}">
                <a16:creationId xmlns:a16="http://schemas.microsoft.com/office/drawing/2014/main" id="{D15FA939-92F5-2020-9E76-22B0CA0C60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4958" y="2428873"/>
            <a:ext cx="1899347" cy="1000125"/>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0955BE30-41FB-E31C-FDE3-44E63D978418}"/>
              </a:ext>
            </a:extLst>
          </p:cNvPr>
          <p:cNvGrpSpPr/>
          <p:nvPr/>
        </p:nvGrpSpPr>
        <p:grpSpPr>
          <a:xfrm>
            <a:off x="5994189" y="2428873"/>
            <a:ext cx="1899346" cy="1000125"/>
            <a:chOff x="515938" y="3576202"/>
            <a:chExt cx="1899346" cy="1000125"/>
          </a:xfrm>
        </p:grpSpPr>
        <p:pic>
          <p:nvPicPr>
            <p:cNvPr id="9" name="Picture 6">
              <a:extLst>
                <a:ext uri="{FF2B5EF4-FFF2-40B4-BE49-F238E27FC236}">
                  <a16:creationId xmlns:a16="http://schemas.microsoft.com/office/drawing/2014/main" id="{080A066D-687A-AC21-9CE4-4143057FA5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938" y="3576202"/>
              <a:ext cx="1500188" cy="100012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a:extLst>
                <a:ext uri="{FF2B5EF4-FFF2-40B4-BE49-F238E27FC236}">
                  <a16:creationId xmlns:a16="http://schemas.microsoft.com/office/drawing/2014/main" id="{DF98D519-959F-D698-2D53-ACF53C0BA2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5096" y="3576202"/>
              <a:ext cx="1500188" cy="100012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EA0B1D82-6CE1-1BD4-F742-9D3C539F37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5517" y="3576202"/>
              <a:ext cx="1500188" cy="1000125"/>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Box 11">
            <a:extLst>
              <a:ext uri="{FF2B5EF4-FFF2-40B4-BE49-F238E27FC236}">
                <a16:creationId xmlns:a16="http://schemas.microsoft.com/office/drawing/2014/main" id="{8068E197-4247-43F0-AD40-E0D0CF2D291A}"/>
              </a:ext>
            </a:extLst>
          </p:cNvPr>
          <p:cNvSpPr txBox="1"/>
          <p:nvPr/>
        </p:nvSpPr>
        <p:spPr>
          <a:xfrm>
            <a:off x="515673" y="3962399"/>
            <a:ext cx="1899876" cy="923330"/>
          </a:xfrm>
          <a:prstGeom prst="rect">
            <a:avLst/>
          </a:prstGeom>
          <a:noFill/>
        </p:spPr>
        <p:txBody>
          <a:bodyPr wrap="square" rtlCol="0">
            <a:spAutoFit/>
          </a:bodyPr>
          <a:lstStyle/>
          <a:p>
            <a:pPr algn="ctr"/>
            <a:r>
              <a:rPr lang="en-GB"/>
              <a:t>‘Vertical’ </a:t>
            </a:r>
          </a:p>
          <a:p>
            <a:pPr algn="ctr"/>
            <a:r>
              <a:rPr lang="en-GB"/>
              <a:t>sector based, </a:t>
            </a:r>
          </a:p>
          <a:p>
            <a:pPr algn="ctr"/>
            <a:r>
              <a:rPr lang="en-GB"/>
              <a:t>regulator led</a:t>
            </a:r>
          </a:p>
        </p:txBody>
      </p:sp>
      <p:sp>
        <p:nvSpPr>
          <p:cNvPr id="13" name="TextBox 12">
            <a:extLst>
              <a:ext uri="{FF2B5EF4-FFF2-40B4-BE49-F238E27FC236}">
                <a16:creationId xmlns:a16="http://schemas.microsoft.com/office/drawing/2014/main" id="{B6206A83-9125-A60E-3839-27A87BD6B73A}"/>
              </a:ext>
            </a:extLst>
          </p:cNvPr>
          <p:cNvSpPr txBox="1"/>
          <p:nvPr/>
        </p:nvSpPr>
        <p:spPr>
          <a:xfrm>
            <a:off x="3242703" y="3962399"/>
            <a:ext cx="1899875" cy="923330"/>
          </a:xfrm>
          <a:prstGeom prst="rect">
            <a:avLst/>
          </a:prstGeom>
          <a:noFill/>
        </p:spPr>
        <p:txBody>
          <a:bodyPr wrap="square" rtlCol="0">
            <a:spAutoFit/>
          </a:bodyPr>
          <a:lstStyle/>
          <a:p>
            <a:pPr algn="ctr"/>
            <a:r>
              <a:rPr lang="en-GB"/>
              <a:t>‘Vertical’ </a:t>
            </a:r>
          </a:p>
          <a:p>
            <a:pPr algn="ctr"/>
            <a:r>
              <a:rPr lang="en-GB"/>
              <a:t>sector based, </a:t>
            </a:r>
          </a:p>
          <a:p>
            <a:pPr algn="ctr"/>
            <a:r>
              <a:rPr lang="en-GB"/>
              <a:t>market led</a:t>
            </a:r>
          </a:p>
        </p:txBody>
      </p:sp>
      <p:sp>
        <p:nvSpPr>
          <p:cNvPr id="14" name="TextBox 13">
            <a:extLst>
              <a:ext uri="{FF2B5EF4-FFF2-40B4-BE49-F238E27FC236}">
                <a16:creationId xmlns:a16="http://schemas.microsoft.com/office/drawing/2014/main" id="{5E7B4068-B626-53A4-5C44-7E68F1D2ED46}"/>
              </a:ext>
            </a:extLst>
          </p:cNvPr>
          <p:cNvSpPr txBox="1"/>
          <p:nvPr/>
        </p:nvSpPr>
        <p:spPr>
          <a:xfrm>
            <a:off x="6020735" y="3962399"/>
            <a:ext cx="1882539" cy="923330"/>
          </a:xfrm>
          <a:prstGeom prst="rect">
            <a:avLst/>
          </a:prstGeom>
          <a:noFill/>
        </p:spPr>
        <p:txBody>
          <a:bodyPr wrap="square" rtlCol="0">
            <a:spAutoFit/>
          </a:bodyPr>
          <a:lstStyle/>
          <a:p>
            <a:pPr algn="ctr"/>
            <a:r>
              <a:rPr lang="en-GB"/>
              <a:t>‘Horizontal’ </a:t>
            </a:r>
          </a:p>
          <a:p>
            <a:pPr algn="ctr"/>
            <a:r>
              <a:rPr lang="en-GB"/>
              <a:t>use case based, </a:t>
            </a:r>
          </a:p>
          <a:p>
            <a:pPr algn="ctr"/>
            <a:r>
              <a:rPr lang="en-GB"/>
              <a:t>legislator led</a:t>
            </a:r>
          </a:p>
        </p:txBody>
      </p:sp>
      <p:pic>
        <p:nvPicPr>
          <p:cNvPr id="24" name="Picture 23">
            <a:extLst>
              <a:ext uri="{FF2B5EF4-FFF2-40B4-BE49-F238E27FC236}">
                <a16:creationId xmlns:a16="http://schemas.microsoft.com/office/drawing/2014/main" id="{B4D901CD-5FEF-6142-F62F-9A6DC11865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94909" y="0"/>
            <a:ext cx="3697089" cy="6582426"/>
          </a:xfrm>
          <a:prstGeom prst="rect">
            <a:avLst/>
          </a:prstGeom>
        </p:spPr>
      </p:pic>
    </p:spTree>
    <p:extLst>
      <p:ext uri="{BB962C8B-B14F-4D97-AF65-F5344CB8AC3E}">
        <p14:creationId xmlns:p14="http://schemas.microsoft.com/office/powerpoint/2010/main" val="34405185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AA2AC48-82AA-5062-56C2-ED08104E78E0}"/>
              </a:ext>
            </a:extLst>
          </p:cNvPr>
          <p:cNvSpPr>
            <a:spLocks noGrp="1"/>
          </p:cNvSpPr>
          <p:nvPr>
            <p:ph type="title"/>
          </p:nvPr>
        </p:nvSpPr>
        <p:spPr>
          <a:xfrm>
            <a:off x="261938" y="862906"/>
            <a:ext cx="6929816" cy="1694844"/>
          </a:xfrm>
        </p:spPr>
        <p:txBody>
          <a:bodyPr/>
          <a:lstStyle/>
          <a:p>
            <a:r>
              <a:rPr lang="en-GB" sz="5400" dirty="0">
                <a:latin typeface="Cambria"/>
                <a:ea typeface="Cambria"/>
              </a:rPr>
              <a:t>Regulating AI in the </a:t>
            </a:r>
            <a:br>
              <a:rPr lang="en-GB" sz="5400" dirty="0">
                <a:latin typeface="Cambria"/>
                <a:ea typeface="Cambria"/>
              </a:rPr>
            </a:br>
            <a:r>
              <a:rPr lang="en-GB" sz="5400" dirty="0">
                <a:latin typeface="Cambria"/>
                <a:ea typeface="Cambria"/>
              </a:rPr>
              <a:t>UK</a:t>
            </a:r>
            <a:endParaRPr lang="en-GB" sz="5400" dirty="0">
              <a:solidFill>
                <a:srgbClr val="000000"/>
              </a:solidFill>
              <a:latin typeface="Cambria"/>
              <a:ea typeface="Cambria"/>
            </a:endParaRPr>
          </a:p>
        </p:txBody>
      </p:sp>
      <p:sp>
        <p:nvSpPr>
          <p:cNvPr id="3" name="Slide Number Placeholder 2">
            <a:extLst>
              <a:ext uri="{FF2B5EF4-FFF2-40B4-BE49-F238E27FC236}">
                <a16:creationId xmlns:a16="http://schemas.microsoft.com/office/drawing/2014/main" id="{11BC675F-4E24-58D6-DC04-8B49B2E5B7D2}"/>
              </a:ext>
            </a:extLst>
          </p:cNvPr>
          <p:cNvSpPr>
            <a:spLocks noGrp="1"/>
          </p:cNvSpPr>
          <p:nvPr>
            <p:ph type="sldNum" sz="quarter" idx="4"/>
          </p:nvPr>
        </p:nvSpPr>
        <p:spPr/>
        <p:txBody>
          <a:bodyPr/>
          <a:lstStyle/>
          <a:p>
            <a:fld id="{F9591D4C-BB8F-AE46-BE73-C616F30BBC5B}" type="slidenum">
              <a:rPr lang="en-US" smtClean="0"/>
              <a:pPr/>
              <a:t>4</a:t>
            </a:fld>
            <a:endParaRPr lang="en-US"/>
          </a:p>
        </p:txBody>
      </p:sp>
    </p:spTree>
    <p:extLst>
      <p:ext uri="{BB962C8B-B14F-4D97-AF65-F5344CB8AC3E}">
        <p14:creationId xmlns:p14="http://schemas.microsoft.com/office/powerpoint/2010/main" val="4504081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06B907-D261-436C-80F8-378217CB0347}"/>
              </a:ext>
            </a:extLst>
          </p:cNvPr>
          <p:cNvSpPr/>
          <p:nvPr/>
        </p:nvSpPr>
        <p:spPr>
          <a:xfrm>
            <a:off x="2613369" y="2216861"/>
            <a:ext cx="2465158" cy="16452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400" b="1">
                <a:solidFill>
                  <a:schemeClr val="tx1"/>
                </a:solidFill>
              </a:rPr>
              <a:t>Adaptable </a:t>
            </a:r>
            <a:br>
              <a:rPr lang="en-GB" sz="1400" b="1">
                <a:solidFill>
                  <a:schemeClr val="tx1"/>
                </a:solidFill>
              </a:rPr>
            </a:br>
            <a:r>
              <a:rPr lang="en-GB" sz="1400" b="1" i="1">
                <a:solidFill>
                  <a:schemeClr val="tx1"/>
                </a:solidFill>
              </a:rPr>
              <a:t>but not </a:t>
            </a:r>
            <a:r>
              <a:rPr lang="en-GB" sz="1400" b="1">
                <a:solidFill>
                  <a:schemeClr val="tx1"/>
                </a:solidFill>
              </a:rPr>
              <a:t>autonomous </a:t>
            </a:r>
            <a:r>
              <a:rPr lang="en-GB" sz="1100">
                <a:solidFill>
                  <a:schemeClr val="tx1"/>
                </a:solidFill>
              </a:rPr>
              <a:t>(analysis fed to human decision maker – e.g. diagnostic medicine)</a:t>
            </a:r>
            <a:endParaRPr lang="en-GB" sz="1400">
              <a:solidFill>
                <a:schemeClr val="tx1"/>
              </a:solidFill>
            </a:endParaRPr>
          </a:p>
        </p:txBody>
      </p:sp>
      <p:sp>
        <p:nvSpPr>
          <p:cNvPr id="5" name="Rectangle 4">
            <a:extLst>
              <a:ext uri="{FF2B5EF4-FFF2-40B4-BE49-F238E27FC236}">
                <a16:creationId xmlns:a16="http://schemas.microsoft.com/office/drawing/2014/main" id="{016FEB37-5634-42A2-9D14-B8D195E6622D}"/>
              </a:ext>
            </a:extLst>
          </p:cNvPr>
          <p:cNvSpPr/>
          <p:nvPr/>
        </p:nvSpPr>
        <p:spPr>
          <a:xfrm>
            <a:off x="2613369" y="3862116"/>
            <a:ext cx="2465158" cy="1645254"/>
          </a:xfrm>
          <a:prstGeom prst="rect">
            <a:avLst/>
          </a:prstGeom>
          <a:solidFill>
            <a:srgbClr val="00B050"/>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sz="1400" b="1"/>
              <a:t>Neither autonomous nor adaptable </a:t>
            </a:r>
            <a:br>
              <a:rPr lang="en-GB" sz="1400" b="1"/>
            </a:br>
            <a:r>
              <a:rPr lang="en-GB" sz="1100"/>
              <a:t>(most legacy software)</a:t>
            </a:r>
            <a:endParaRPr lang="en-GB" sz="1400"/>
          </a:p>
        </p:txBody>
      </p:sp>
      <p:sp>
        <p:nvSpPr>
          <p:cNvPr id="6" name="Rectangle 5">
            <a:extLst>
              <a:ext uri="{FF2B5EF4-FFF2-40B4-BE49-F238E27FC236}">
                <a16:creationId xmlns:a16="http://schemas.microsoft.com/office/drawing/2014/main" id="{7D67ED0E-BA11-4AB7-AB33-7CD878B27207}"/>
              </a:ext>
            </a:extLst>
          </p:cNvPr>
          <p:cNvSpPr/>
          <p:nvPr/>
        </p:nvSpPr>
        <p:spPr>
          <a:xfrm>
            <a:off x="5078527" y="2216861"/>
            <a:ext cx="2465158" cy="1645254"/>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400" b="1"/>
              <a:t>Adaptable &amp; autonomous</a:t>
            </a:r>
          </a:p>
          <a:p>
            <a:pPr algn="ctr"/>
            <a:r>
              <a:rPr lang="en-GB" sz="1100"/>
              <a:t>(e.g. self driving car, NLP directly interacting on internet)</a:t>
            </a:r>
          </a:p>
        </p:txBody>
      </p:sp>
      <p:sp>
        <p:nvSpPr>
          <p:cNvPr id="7" name="Rectangle 6">
            <a:extLst>
              <a:ext uri="{FF2B5EF4-FFF2-40B4-BE49-F238E27FC236}">
                <a16:creationId xmlns:a16="http://schemas.microsoft.com/office/drawing/2014/main" id="{A8BD8A9C-76D3-4DFE-A39B-A33811E5B22B}"/>
              </a:ext>
            </a:extLst>
          </p:cNvPr>
          <p:cNvSpPr/>
          <p:nvPr/>
        </p:nvSpPr>
        <p:spPr>
          <a:xfrm>
            <a:off x="5078527" y="3862116"/>
            <a:ext cx="2465158" cy="16452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400" b="1">
                <a:solidFill>
                  <a:schemeClr val="tx1"/>
                </a:solidFill>
              </a:rPr>
              <a:t>Autonomous </a:t>
            </a:r>
            <a:r>
              <a:rPr lang="en-GB" sz="1400" b="1" i="1">
                <a:solidFill>
                  <a:schemeClr val="tx1"/>
                </a:solidFill>
              </a:rPr>
              <a:t>but not </a:t>
            </a:r>
            <a:r>
              <a:rPr lang="en-GB" sz="1400" b="1">
                <a:solidFill>
                  <a:schemeClr val="tx1"/>
                </a:solidFill>
              </a:rPr>
              <a:t>adaptable</a:t>
            </a:r>
            <a:r>
              <a:rPr lang="en-GB" sz="1400">
                <a:solidFill>
                  <a:schemeClr val="tx1"/>
                </a:solidFill>
              </a:rPr>
              <a:t> </a:t>
            </a:r>
            <a:br>
              <a:rPr lang="en-GB" sz="1400">
                <a:solidFill>
                  <a:schemeClr val="tx1"/>
                </a:solidFill>
              </a:rPr>
            </a:br>
            <a:r>
              <a:rPr lang="en-GB" sz="1100">
                <a:solidFill>
                  <a:schemeClr val="tx1"/>
                </a:solidFill>
              </a:rPr>
              <a:t>(clear, knowable if-this-then-that decisions e.g. ATM, supermarket self checkout etc.)</a:t>
            </a:r>
            <a:endParaRPr lang="en-GB" sz="1400">
              <a:solidFill>
                <a:schemeClr val="tx1"/>
              </a:solidFill>
            </a:endParaRPr>
          </a:p>
        </p:txBody>
      </p:sp>
      <p:cxnSp>
        <p:nvCxnSpPr>
          <p:cNvPr id="9" name="Straight Arrow Connector 8">
            <a:extLst>
              <a:ext uri="{FF2B5EF4-FFF2-40B4-BE49-F238E27FC236}">
                <a16:creationId xmlns:a16="http://schemas.microsoft.com/office/drawing/2014/main" id="{DEC89224-00AB-4CC9-8A89-D2CDC49A107D}"/>
              </a:ext>
            </a:extLst>
          </p:cNvPr>
          <p:cNvCxnSpPr>
            <a:cxnSpLocks/>
          </p:cNvCxnSpPr>
          <p:nvPr/>
        </p:nvCxnSpPr>
        <p:spPr>
          <a:xfrm flipV="1">
            <a:off x="2613369" y="1530455"/>
            <a:ext cx="0" cy="3976915"/>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DA5F7535-E84D-4A07-A876-1982B6D88A01}"/>
              </a:ext>
            </a:extLst>
          </p:cNvPr>
          <p:cNvCxnSpPr/>
          <p:nvPr/>
        </p:nvCxnSpPr>
        <p:spPr>
          <a:xfrm>
            <a:off x="2613369" y="5507370"/>
            <a:ext cx="6101928" cy="0"/>
          </a:xfrm>
          <a:prstGeom prst="straightConnector1">
            <a:avLst/>
          </a:prstGeom>
          <a:ln w="38100">
            <a:tailEnd type="triangle"/>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172EAB51-956F-4FD3-9E02-4A81E7936048}"/>
              </a:ext>
            </a:extLst>
          </p:cNvPr>
          <p:cNvSpPr txBox="1"/>
          <p:nvPr/>
        </p:nvSpPr>
        <p:spPr>
          <a:xfrm>
            <a:off x="622019" y="2538662"/>
            <a:ext cx="1718105" cy="2031325"/>
          </a:xfrm>
          <a:prstGeom prst="rect">
            <a:avLst/>
          </a:prstGeom>
          <a:noFill/>
        </p:spPr>
        <p:txBody>
          <a:bodyPr wrap="square" rtlCol="0">
            <a:spAutoFit/>
          </a:bodyPr>
          <a:lstStyle/>
          <a:p>
            <a:r>
              <a:rPr lang="en-GB" sz="1400"/>
              <a:t>More adaptable = greater risk that machine will be unknowable. Potential for unexpected emergent properties or behaviours</a:t>
            </a:r>
          </a:p>
        </p:txBody>
      </p:sp>
      <p:sp>
        <p:nvSpPr>
          <p:cNvPr id="13" name="TextBox 12">
            <a:extLst>
              <a:ext uri="{FF2B5EF4-FFF2-40B4-BE49-F238E27FC236}">
                <a16:creationId xmlns:a16="http://schemas.microsoft.com/office/drawing/2014/main" id="{8BD3F414-54C4-4059-ACF0-F7E24222DD52}"/>
              </a:ext>
            </a:extLst>
          </p:cNvPr>
          <p:cNvSpPr txBox="1"/>
          <p:nvPr/>
        </p:nvSpPr>
        <p:spPr>
          <a:xfrm>
            <a:off x="2613368" y="5637134"/>
            <a:ext cx="5890756" cy="631659"/>
          </a:xfrm>
          <a:prstGeom prst="rect">
            <a:avLst/>
          </a:prstGeom>
          <a:noFill/>
        </p:spPr>
        <p:txBody>
          <a:bodyPr wrap="square" rtlCol="0">
            <a:spAutoFit/>
          </a:bodyPr>
          <a:lstStyle/>
          <a:p>
            <a:r>
              <a:rPr lang="en-GB" sz="1400"/>
              <a:t>More autonomous = greater risk that harms will arise without oversight. Potential for incorrect decisions to go unchallenged</a:t>
            </a:r>
          </a:p>
        </p:txBody>
      </p:sp>
      <p:sp>
        <p:nvSpPr>
          <p:cNvPr id="15" name="Title 5">
            <a:extLst>
              <a:ext uri="{FF2B5EF4-FFF2-40B4-BE49-F238E27FC236}">
                <a16:creationId xmlns:a16="http://schemas.microsoft.com/office/drawing/2014/main" id="{4DE415D4-F13F-4BC7-B7F8-6C0A5F67A4EF}"/>
              </a:ext>
            </a:extLst>
          </p:cNvPr>
          <p:cNvSpPr txBox="1">
            <a:spLocks/>
          </p:cNvSpPr>
          <p:nvPr/>
        </p:nvSpPr>
        <p:spPr>
          <a:xfrm>
            <a:off x="515939" y="368300"/>
            <a:ext cx="11160124" cy="577153"/>
          </a:xfrm>
          <a:prstGeom prst="rect">
            <a:avLst/>
          </a:prstGeom>
        </p:spPr>
        <p:txBody>
          <a:bodyPr vert="horz" lIns="0" tIns="0" rIns="0" bIns="0" rtlCol="0" anchor="b" anchorCtr="0">
            <a:noAutofit/>
          </a:bodyPr>
          <a:lstStyle>
            <a:lvl1pPr algn="ctr" defTabSz="914400" rtl="0" eaLnBrk="1" latinLnBrk="0" hangingPunct="1">
              <a:lnSpc>
                <a:spcPct val="90000"/>
              </a:lnSpc>
              <a:spcBef>
                <a:spcPct val="0"/>
              </a:spcBef>
              <a:buNone/>
              <a:defRPr sz="6000" kern="1200">
                <a:solidFill>
                  <a:schemeClr val="tx1"/>
                </a:solidFill>
                <a:latin typeface="Cambria" panose="02040503050406030204" pitchFamily="18" charset="0"/>
                <a:ea typeface="+mj-ea"/>
                <a:cs typeface="+mj-cs"/>
              </a:defRPr>
            </a:lvl1pPr>
          </a:lstStyle>
          <a:p>
            <a:pPr algn="l"/>
            <a:r>
              <a:rPr lang="en-GB" sz="3600"/>
              <a:t>Regulating AI: UK definition</a:t>
            </a:r>
          </a:p>
        </p:txBody>
      </p:sp>
      <p:sp>
        <p:nvSpPr>
          <p:cNvPr id="2" name="TextBox 1">
            <a:extLst>
              <a:ext uri="{FF2B5EF4-FFF2-40B4-BE49-F238E27FC236}">
                <a16:creationId xmlns:a16="http://schemas.microsoft.com/office/drawing/2014/main" id="{3AB1C051-3D5C-AE50-A144-82C67F15C310}"/>
              </a:ext>
            </a:extLst>
          </p:cNvPr>
          <p:cNvSpPr txBox="1"/>
          <p:nvPr/>
        </p:nvSpPr>
        <p:spPr>
          <a:xfrm>
            <a:off x="8427027" y="1593524"/>
            <a:ext cx="3317213" cy="2708434"/>
          </a:xfrm>
          <a:prstGeom prst="rect">
            <a:avLst/>
          </a:prstGeom>
          <a:noFill/>
        </p:spPr>
        <p:txBody>
          <a:bodyPr wrap="square" rtlCol="0">
            <a:spAutoFit/>
          </a:bodyPr>
          <a:lstStyle/>
          <a:p>
            <a:r>
              <a:rPr lang="en-GB" b="1"/>
              <a:t>UK National AI Strategy - </a:t>
            </a:r>
          </a:p>
          <a:p>
            <a:r>
              <a:rPr lang="en-GB" b="1"/>
              <a:t>AI Action Plan</a:t>
            </a:r>
          </a:p>
          <a:p>
            <a:r>
              <a:rPr lang="en-GB"/>
              <a:t>18 July 2022</a:t>
            </a:r>
          </a:p>
          <a:p>
            <a:endParaRPr lang="en-GB"/>
          </a:p>
          <a:p>
            <a:r>
              <a:rPr lang="en-GB" sz="1400" i="1"/>
              <a:t>Rt Hon Nadine </a:t>
            </a:r>
            <a:r>
              <a:rPr lang="en-GB" sz="1400" i="1" err="1"/>
              <a:t>Dorries</a:t>
            </a:r>
            <a:r>
              <a:rPr lang="en-GB" sz="1400" i="1"/>
              <a:t> MP</a:t>
            </a:r>
          </a:p>
          <a:p>
            <a:r>
              <a:rPr lang="en-GB" sz="1400" i="1"/>
              <a:t>Secretary of State for Digital, Culture, Media and Sport</a:t>
            </a:r>
          </a:p>
          <a:p>
            <a:endParaRPr lang="en-GB" sz="1400" i="1"/>
          </a:p>
          <a:p>
            <a:r>
              <a:rPr lang="en-GB" sz="1400" i="1"/>
              <a:t>Rt Hon Kwasi Kwarteng MP</a:t>
            </a:r>
          </a:p>
          <a:p>
            <a:r>
              <a:rPr lang="en-GB" sz="1400" i="1"/>
              <a:t>Secretary of State for Business, Energy and Industrial Strategy</a:t>
            </a:r>
          </a:p>
        </p:txBody>
      </p:sp>
      <p:pic>
        <p:nvPicPr>
          <p:cNvPr id="10" name="Picture 2">
            <a:extLst>
              <a:ext uri="{FF2B5EF4-FFF2-40B4-BE49-F238E27FC236}">
                <a16:creationId xmlns:a16="http://schemas.microsoft.com/office/drawing/2014/main" id="{E91D1CC2-905D-FB45-DBC4-F858D66452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35534" y="288081"/>
            <a:ext cx="1262942" cy="665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54983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5">
            <a:extLst>
              <a:ext uri="{FF2B5EF4-FFF2-40B4-BE49-F238E27FC236}">
                <a16:creationId xmlns:a16="http://schemas.microsoft.com/office/drawing/2014/main" id="{4DE415D4-F13F-4BC7-B7F8-6C0A5F67A4EF}"/>
              </a:ext>
            </a:extLst>
          </p:cNvPr>
          <p:cNvSpPr txBox="1">
            <a:spLocks/>
          </p:cNvSpPr>
          <p:nvPr/>
        </p:nvSpPr>
        <p:spPr>
          <a:xfrm>
            <a:off x="515939" y="368300"/>
            <a:ext cx="11160124" cy="577153"/>
          </a:xfrm>
          <a:prstGeom prst="rect">
            <a:avLst/>
          </a:prstGeom>
        </p:spPr>
        <p:txBody>
          <a:bodyPr vert="horz" lIns="0" tIns="0" rIns="0" bIns="0" rtlCol="0" anchor="b" anchorCtr="0">
            <a:noAutofit/>
          </a:bodyPr>
          <a:lstStyle>
            <a:lvl1pPr algn="ctr" defTabSz="914400" rtl="0" eaLnBrk="1" latinLnBrk="0" hangingPunct="1">
              <a:lnSpc>
                <a:spcPct val="90000"/>
              </a:lnSpc>
              <a:spcBef>
                <a:spcPct val="0"/>
              </a:spcBef>
              <a:buNone/>
              <a:defRPr sz="6000" kern="1200">
                <a:solidFill>
                  <a:schemeClr val="tx1"/>
                </a:solidFill>
                <a:latin typeface="Cambria" panose="02040503050406030204" pitchFamily="18" charset="0"/>
                <a:ea typeface="+mj-ea"/>
                <a:cs typeface="+mj-cs"/>
              </a:defRPr>
            </a:lvl1pPr>
          </a:lstStyle>
          <a:p>
            <a:pPr algn="l"/>
            <a:r>
              <a:rPr lang="en-GB" sz="3600">
                <a:latin typeface="Cambria"/>
                <a:ea typeface="Cambria"/>
              </a:rPr>
              <a:t>UK AI Regulation White Paper</a:t>
            </a:r>
            <a:endParaRPr lang="en-GB" sz="3600"/>
          </a:p>
        </p:txBody>
      </p:sp>
      <p:sp>
        <p:nvSpPr>
          <p:cNvPr id="3" name="Text Placeholder 10">
            <a:extLst>
              <a:ext uri="{FF2B5EF4-FFF2-40B4-BE49-F238E27FC236}">
                <a16:creationId xmlns:a16="http://schemas.microsoft.com/office/drawing/2014/main" id="{EDF6FEFA-2F77-E2CE-43D5-3816686E3C12}"/>
              </a:ext>
            </a:extLst>
          </p:cNvPr>
          <p:cNvSpPr txBox="1">
            <a:spLocks/>
          </p:cNvSpPr>
          <p:nvPr/>
        </p:nvSpPr>
        <p:spPr>
          <a:xfrm>
            <a:off x="515938" y="899161"/>
            <a:ext cx="11160125" cy="237308"/>
          </a:xfrm>
          <a:prstGeom prst="rect">
            <a:avLst/>
          </a:prstGeom>
        </p:spPr>
        <p:txBody>
          <a:bodyPr lIns="91440" tIns="45720" rIns="91440" bIns="45720" anchor="t"/>
          <a:lstStyle>
            <a:lvl1pPr marL="230188" indent="-230188" algn="l" defTabSz="914400" rtl="0" eaLnBrk="1" latinLnBrk="0" hangingPunct="1">
              <a:lnSpc>
                <a:spcPts val="22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461963" indent="-236538" algn="l" defTabSz="914400" rtl="0" eaLnBrk="1" latinLnBrk="0" hangingPunct="1">
              <a:lnSpc>
                <a:spcPts val="2200"/>
              </a:lnSpc>
              <a:spcBef>
                <a:spcPts val="500"/>
              </a:spcBef>
              <a:buClr>
                <a:schemeClr val="bg2">
                  <a:lumMod val="50000"/>
                </a:schemeClr>
              </a:buClr>
              <a:buFont typeface="Arial" panose="020B0604020202020204" pitchFamily="34" charset="0"/>
              <a:buChar char="•"/>
              <a:defRPr sz="2000" kern="1200">
                <a:solidFill>
                  <a:schemeClr val="tx1"/>
                </a:solidFill>
                <a:latin typeface="+mn-lt"/>
                <a:ea typeface="+mn-ea"/>
                <a:cs typeface="+mn-cs"/>
              </a:defRPr>
            </a:lvl2pPr>
            <a:lvl3pPr marL="684213" indent="-227013" algn="l" defTabSz="914400" rtl="0" eaLnBrk="1" latinLnBrk="0" hangingPunct="1">
              <a:lnSpc>
                <a:spcPts val="2200"/>
              </a:lnSpc>
              <a:spcBef>
                <a:spcPts val="500"/>
              </a:spcBef>
              <a:buClr>
                <a:schemeClr val="bg2">
                  <a:lumMod val="75000"/>
                </a:schemeClr>
              </a:buClr>
              <a:buFont typeface="Arial" panose="020B0604020202020204" pitchFamily="34" charset="0"/>
              <a:buChar char="•"/>
              <a:defRPr sz="2000" kern="1200">
                <a:solidFill>
                  <a:schemeClr val="tx1"/>
                </a:solidFill>
                <a:latin typeface="+mn-lt"/>
                <a:ea typeface="+mn-ea"/>
                <a:cs typeface="+mn-cs"/>
              </a:defRPr>
            </a:lvl3pPr>
            <a:lvl4pPr marL="914400" indent="-227013" algn="l" defTabSz="914400" rtl="0" eaLnBrk="1" latinLnBrk="0" hangingPunct="1">
              <a:lnSpc>
                <a:spcPts val="2200"/>
              </a:lnSpc>
              <a:spcBef>
                <a:spcPts val="500"/>
              </a:spcBef>
              <a:buClr>
                <a:schemeClr val="bg1">
                  <a:lumMod val="75000"/>
                </a:schemeClr>
              </a:buClr>
              <a:buFont typeface="Arial" panose="020B0604020202020204" pitchFamily="34" charset="0"/>
              <a:buChar char="•"/>
              <a:defRPr sz="2000" kern="1200">
                <a:solidFill>
                  <a:schemeClr val="tx1"/>
                </a:solidFill>
                <a:latin typeface="+mn-lt"/>
                <a:ea typeface="+mn-ea"/>
                <a:cs typeface="+mn-cs"/>
              </a:defRPr>
            </a:lvl4pPr>
            <a:lvl5pPr marL="1144588" indent="-225425" algn="l" defTabSz="914400" rtl="0" eaLnBrk="1" latinLnBrk="0" hangingPunct="1">
              <a:lnSpc>
                <a:spcPts val="2200"/>
              </a:lnSpc>
              <a:spcBef>
                <a:spcPts val="500"/>
              </a:spcBef>
              <a:buClr>
                <a:schemeClr val="bg1">
                  <a:lumMod val="75000"/>
                </a:schemeClr>
              </a:buClr>
              <a:buFont typeface="Arial" panose="020B0604020202020204" pitchFamily="34" charset="0"/>
              <a:buChar char="•"/>
              <a:defRPr sz="2000" kern="1200">
                <a:solidFill>
                  <a:schemeClr val="tx1"/>
                </a:solidFill>
                <a:latin typeface="+mn-lt"/>
                <a:ea typeface="+mn-ea"/>
                <a:cs typeface="+mn-cs"/>
              </a:defRPr>
            </a:lvl5pPr>
            <a:lvl6pPr marL="1381125" indent="-233363" algn="l" defTabSz="914400" rtl="0" eaLnBrk="1" latinLnBrk="0" hangingPunct="1">
              <a:lnSpc>
                <a:spcPct val="90000"/>
              </a:lnSpc>
              <a:spcBef>
                <a:spcPts val="500"/>
              </a:spcBef>
              <a:buClr>
                <a:schemeClr val="bg1">
                  <a:lumMod val="75000"/>
                </a:schemeClr>
              </a:buClr>
              <a:buFont typeface="Arial" panose="020B0604020202020204" pitchFamily="34" charset="0"/>
              <a:buChar char="•"/>
              <a:tabLst/>
              <a:defRPr sz="1800" kern="1200">
                <a:solidFill>
                  <a:schemeClr val="tx1"/>
                </a:solidFill>
                <a:latin typeface="+mn-lt"/>
                <a:ea typeface="+mn-ea"/>
                <a:cs typeface="+mn-cs"/>
              </a:defRPr>
            </a:lvl6pPr>
            <a:lvl7pPr marL="1606550" indent="-233363" algn="l" defTabSz="914400" rtl="0" eaLnBrk="1" latinLnBrk="0" hangingPunct="1">
              <a:lnSpc>
                <a:spcPct val="90000"/>
              </a:lnSpc>
              <a:spcBef>
                <a:spcPts val="500"/>
              </a:spcBef>
              <a:buClr>
                <a:schemeClr val="bg1">
                  <a:lumMod val="75000"/>
                </a:schemeClr>
              </a:buClr>
              <a:buFont typeface="Arial" panose="020B0604020202020204" pitchFamily="34" charset="0"/>
              <a:buChar char="•"/>
              <a:tabLst/>
              <a:defRPr sz="1800" kern="1200" baseline="0">
                <a:solidFill>
                  <a:schemeClr val="tx1"/>
                </a:solidFill>
                <a:latin typeface="+mn-lt"/>
                <a:ea typeface="+mn-ea"/>
                <a:cs typeface="+mn-cs"/>
              </a:defRPr>
            </a:lvl7pPr>
            <a:lvl8pPr marL="1822450" indent="-225425" algn="l" defTabSz="914400" rtl="0" eaLnBrk="1" latinLnBrk="0" hangingPunct="1">
              <a:lnSpc>
                <a:spcPct val="90000"/>
              </a:lnSpc>
              <a:spcBef>
                <a:spcPts val="500"/>
              </a:spcBef>
              <a:buClr>
                <a:schemeClr val="bg1">
                  <a:lumMod val="75000"/>
                </a:schemeClr>
              </a:buClr>
              <a:buFont typeface="Arial" panose="020B0604020202020204" pitchFamily="34" charset="0"/>
              <a:buChar char="•"/>
              <a:tabLst/>
              <a:defRPr sz="1800" kern="1200" baseline="0">
                <a:solidFill>
                  <a:schemeClr val="tx1"/>
                </a:solidFill>
                <a:latin typeface="+mn-lt"/>
                <a:ea typeface="+mn-ea"/>
                <a:cs typeface="+mn-cs"/>
              </a:defRPr>
            </a:lvl8pPr>
            <a:lvl9pPr marL="1998663" indent="-169863" algn="l" defTabSz="914400" rtl="0" eaLnBrk="1" latinLnBrk="0" hangingPunct="1">
              <a:lnSpc>
                <a:spcPct val="90000"/>
              </a:lnSpc>
              <a:spcBef>
                <a:spcPts val="500"/>
              </a:spcBef>
              <a:buClr>
                <a:schemeClr val="accent5">
                  <a:lumMod val="75000"/>
                </a:schemeClr>
              </a:buClr>
              <a:buFont typeface="Arial" panose="020B0604020202020204" pitchFamily="34" charset="0"/>
              <a:buChar char="•"/>
              <a:defRPr sz="1800" kern="1200" baseline="0">
                <a:solidFill>
                  <a:schemeClr val="tx1"/>
                </a:solidFill>
                <a:latin typeface="+mn-lt"/>
                <a:ea typeface="+mn-ea"/>
                <a:cs typeface="+mn-cs"/>
              </a:defRPr>
            </a:lvl9pPr>
          </a:lstStyle>
          <a:p>
            <a:pPr marL="0" indent="0">
              <a:buNone/>
            </a:pPr>
            <a:r>
              <a:rPr lang="en-US"/>
              <a:t>Key features of the UK's proposed approach – March 2023</a:t>
            </a:r>
          </a:p>
        </p:txBody>
      </p:sp>
      <p:graphicFrame>
        <p:nvGraphicFramePr>
          <p:cNvPr id="8" name="Diagram 9">
            <a:extLst>
              <a:ext uri="{FF2B5EF4-FFF2-40B4-BE49-F238E27FC236}">
                <a16:creationId xmlns:a16="http://schemas.microsoft.com/office/drawing/2014/main" id="{E555E4C3-ECB1-56A0-960B-00A9F3B18701}"/>
              </a:ext>
            </a:extLst>
          </p:cNvPr>
          <p:cNvGraphicFramePr/>
          <p:nvPr/>
        </p:nvGraphicFramePr>
        <p:xfrm>
          <a:off x="3981039" y="1136469"/>
          <a:ext cx="7563967" cy="47230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0D07E2B1-73C8-AC2D-2AE5-63AD5032D68C}"/>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515938" y="1605049"/>
            <a:ext cx="3042408" cy="4353790"/>
          </a:xfrm>
          <a:prstGeom prst="rect">
            <a:avLst/>
          </a:prstGeom>
          <a:ln>
            <a:solidFill>
              <a:schemeClr val="tx1"/>
            </a:solidFill>
          </a:ln>
        </p:spPr>
      </p:pic>
      <p:sp>
        <p:nvSpPr>
          <p:cNvPr id="11" name="TextBox 10">
            <a:extLst>
              <a:ext uri="{FF2B5EF4-FFF2-40B4-BE49-F238E27FC236}">
                <a16:creationId xmlns:a16="http://schemas.microsoft.com/office/drawing/2014/main" id="{9A14F3F8-89DB-93C6-127F-9C20862FA974}"/>
              </a:ext>
            </a:extLst>
          </p:cNvPr>
          <p:cNvSpPr txBox="1"/>
          <p:nvPr/>
        </p:nvSpPr>
        <p:spPr>
          <a:xfrm>
            <a:off x="3981039" y="5721531"/>
            <a:ext cx="6099462" cy="584775"/>
          </a:xfrm>
          <a:prstGeom prst="rect">
            <a:avLst/>
          </a:prstGeom>
          <a:noFill/>
        </p:spPr>
        <p:txBody>
          <a:bodyPr wrap="square">
            <a:spAutoFit/>
          </a:bodyPr>
          <a:lstStyle/>
          <a:p>
            <a:r>
              <a:rPr lang="en-GB" sz="1600" i="1"/>
              <a:t>The Rt Hon Michelle </a:t>
            </a:r>
            <a:r>
              <a:rPr lang="en-GB" sz="1600" i="1" err="1"/>
              <a:t>Donelan</a:t>
            </a:r>
            <a:r>
              <a:rPr lang="en-GB" sz="1600" i="1"/>
              <a:t> MP, </a:t>
            </a:r>
          </a:p>
          <a:p>
            <a:r>
              <a:rPr lang="en-GB" sz="1600" i="1"/>
              <a:t>Secretary of State for Science, Innovation and Technology</a:t>
            </a:r>
          </a:p>
        </p:txBody>
      </p:sp>
      <p:pic>
        <p:nvPicPr>
          <p:cNvPr id="4" name="Picture 2">
            <a:extLst>
              <a:ext uri="{FF2B5EF4-FFF2-40B4-BE49-F238E27FC236}">
                <a16:creationId xmlns:a16="http://schemas.microsoft.com/office/drawing/2014/main" id="{7AC9DA71-C644-805A-29BB-7197FB3E23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626094" y="324367"/>
            <a:ext cx="1262942" cy="6650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269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AA2AC48-82AA-5062-56C2-ED08104E78E0}"/>
              </a:ext>
            </a:extLst>
          </p:cNvPr>
          <p:cNvSpPr>
            <a:spLocks noGrp="1"/>
          </p:cNvSpPr>
          <p:nvPr>
            <p:ph type="title"/>
          </p:nvPr>
        </p:nvSpPr>
        <p:spPr>
          <a:xfrm>
            <a:off x="261938" y="862906"/>
            <a:ext cx="6929816" cy="1694844"/>
          </a:xfrm>
        </p:spPr>
        <p:txBody>
          <a:bodyPr/>
          <a:lstStyle/>
          <a:p>
            <a:r>
              <a:rPr lang="en-GB" sz="5400" dirty="0">
                <a:latin typeface="Cambria"/>
                <a:ea typeface="Cambria"/>
              </a:rPr>
              <a:t>Regulating AI in the </a:t>
            </a:r>
            <a:br>
              <a:rPr lang="en-GB" sz="5400" dirty="0">
                <a:latin typeface="Cambria"/>
                <a:ea typeface="Cambria"/>
              </a:rPr>
            </a:br>
            <a:r>
              <a:rPr lang="en-GB" sz="5400" dirty="0">
                <a:solidFill>
                  <a:srgbClr val="FFFFFF"/>
                </a:solidFill>
                <a:latin typeface="Cambria"/>
                <a:ea typeface="Cambria"/>
              </a:rPr>
              <a:t>US</a:t>
            </a:r>
          </a:p>
        </p:txBody>
      </p:sp>
      <p:sp>
        <p:nvSpPr>
          <p:cNvPr id="3" name="Slide Number Placeholder 2">
            <a:extLst>
              <a:ext uri="{FF2B5EF4-FFF2-40B4-BE49-F238E27FC236}">
                <a16:creationId xmlns:a16="http://schemas.microsoft.com/office/drawing/2014/main" id="{11BC675F-4E24-58D6-DC04-8B49B2E5B7D2}"/>
              </a:ext>
            </a:extLst>
          </p:cNvPr>
          <p:cNvSpPr>
            <a:spLocks noGrp="1"/>
          </p:cNvSpPr>
          <p:nvPr>
            <p:ph type="sldNum" sz="quarter" idx="4"/>
          </p:nvPr>
        </p:nvSpPr>
        <p:spPr/>
        <p:txBody>
          <a:bodyPr/>
          <a:lstStyle/>
          <a:p>
            <a:fld id="{F9591D4C-BB8F-AE46-BE73-C616F30BBC5B}" type="slidenum">
              <a:rPr lang="en-US" smtClean="0"/>
              <a:pPr/>
              <a:t>7</a:t>
            </a:fld>
            <a:endParaRPr lang="en-US"/>
          </a:p>
        </p:txBody>
      </p:sp>
    </p:spTree>
    <p:extLst>
      <p:ext uri="{BB962C8B-B14F-4D97-AF65-F5344CB8AC3E}">
        <p14:creationId xmlns:p14="http://schemas.microsoft.com/office/powerpoint/2010/main" val="129707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676063" y="6582426"/>
            <a:ext cx="515935" cy="275573"/>
          </a:xfrm>
        </p:spPr>
        <p:txBody>
          <a:bodyPr anchor="ctr">
            <a:normAutofit/>
          </a:bodyPr>
          <a:lstStyle/>
          <a:p>
            <a:pPr>
              <a:spcAft>
                <a:spcPts val="600"/>
              </a:spcAft>
            </a:pPr>
            <a:fld id="{F9591D4C-BB8F-AE46-BE73-C616F30BBC5B}" type="slidenum">
              <a:rPr lang="en-US" smtClean="0"/>
              <a:pPr>
                <a:spcAft>
                  <a:spcPts val="600"/>
                </a:spcAft>
              </a:pPr>
              <a:t>8</a:t>
            </a:fld>
            <a:endParaRPr lang="en-US"/>
          </a:p>
        </p:txBody>
      </p:sp>
      <p:sp>
        <p:nvSpPr>
          <p:cNvPr id="6" name="Title 5"/>
          <p:cNvSpPr>
            <a:spLocks noGrp="1"/>
          </p:cNvSpPr>
          <p:nvPr>
            <p:ph type="title"/>
          </p:nvPr>
        </p:nvSpPr>
        <p:spPr>
          <a:xfrm>
            <a:off x="515937" y="368300"/>
            <a:ext cx="11004470" cy="577153"/>
          </a:xfrm>
        </p:spPr>
        <p:txBody>
          <a:bodyPr anchor="t">
            <a:noAutofit/>
          </a:bodyPr>
          <a:lstStyle/>
          <a:p>
            <a:r>
              <a:rPr lang="en-US" sz="4000"/>
              <a:t>A New US AI Regulatory Landscape…</a:t>
            </a:r>
          </a:p>
        </p:txBody>
      </p:sp>
      <p:graphicFrame>
        <p:nvGraphicFramePr>
          <p:cNvPr id="8" name="Content Placeholder 1">
            <a:extLst>
              <a:ext uri="{FF2B5EF4-FFF2-40B4-BE49-F238E27FC236}">
                <a16:creationId xmlns:a16="http://schemas.microsoft.com/office/drawing/2014/main" id="{3713174F-037A-4CD3-A675-9A84F45577FE}"/>
              </a:ext>
            </a:extLst>
          </p:cNvPr>
          <p:cNvGraphicFramePr>
            <a:graphicFrameLocks noGrp="1"/>
          </p:cNvGraphicFramePr>
          <p:nvPr>
            <p:ph sz="quarter" idx="19"/>
          </p:nvPr>
        </p:nvGraphicFramePr>
        <p:xfrm>
          <a:off x="400529" y="1432201"/>
          <a:ext cx="11160125" cy="46006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2">
            <a:extLst>
              <a:ext uri="{FF2B5EF4-FFF2-40B4-BE49-F238E27FC236}">
                <a16:creationId xmlns:a16="http://schemas.microsoft.com/office/drawing/2014/main" id="{2D98D403-345A-CD2E-1AF4-C324678C468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10929058" y="324949"/>
            <a:ext cx="1262942" cy="663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0484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91E5A661-C2B4-A405-9721-AB91D4491E7F}"/>
              </a:ext>
            </a:extLst>
          </p:cNvPr>
          <p:cNvSpPr>
            <a:spLocks noGrp="1"/>
          </p:cNvSpPr>
          <p:nvPr>
            <p:ph sz="quarter" idx="18"/>
          </p:nvPr>
        </p:nvSpPr>
        <p:spPr>
          <a:xfrm>
            <a:off x="515939" y="1882171"/>
            <a:ext cx="11160124" cy="4244310"/>
          </a:xfrm>
        </p:spPr>
        <p:txBody>
          <a:bodyPr numCol="2"/>
          <a:lstStyle/>
          <a:p>
            <a:pPr marL="342900" indent="-342900">
              <a:buFont typeface="+mj-lt"/>
              <a:buAutoNum type="arabicPeriod"/>
            </a:pPr>
            <a:r>
              <a:rPr lang="en-GB" sz="1800"/>
              <a:t>Overall aim: Safe, secure, and trustworthy AI</a:t>
            </a:r>
          </a:p>
          <a:p>
            <a:pPr marL="342900" indent="-342900">
              <a:buFont typeface="+mj-lt"/>
              <a:buAutoNum type="arabicPeriod"/>
            </a:pPr>
            <a:r>
              <a:rPr lang="en-GB" sz="1800"/>
              <a:t>Red-teaming, AI testbeds, and industry standards – NIST to develop new standards. </a:t>
            </a:r>
          </a:p>
          <a:p>
            <a:pPr marL="342900" indent="-342900">
              <a:buFont typeface="+mj-lt"/>
              <a:buAutoNum type="arabicPeriod"/>
            </a:pPr>
            <a:r>
              <a:rPr lang="en-GB" sz="1800"/>
              <a:t>The </a:t>
            </a:r>
            <a:r>
              <a:rPr lang="en-GB" sz="1800" err="1"/>
              <a:t>Defense</a:t>
            </a:r>
            <a:r>
              <a:rPr lang="en-GB" sz="1800"/>
              <a:t> Production Act: to ensure safe, reliable, and effective AI / esp. dual use tech</a:t>
            </a:r>
          </a:p>
          <a:p>
            <a:pPr marL="342900" indent="-342900">
              <a:buFont typeface="+mj-lt"/>
              <a:buAutoNum type="arabicPeriod"/>
            </a:pPr>
            <a:r>
              <a:rPr lang="en-GB" sz="1800"/>
              <a:t>Privacy: Americans’ privacy and civil liberties must be protected as AI advances</a:t>
            </a:r>
          </a:p>
          <a:p>
            <a:pPr marL="342900" indent="-342900">
              <a:buFont typeface="+mj-lt"/>
              <a:buAutoNum type="arabicPeriod"/>
            </a:pPr>
            <a:r>
              <a:rPr lang="en-GB" sz="1800"/>
              <a:t>Cybersecurity: must be addressed in addition to privacy measures</a:t>
            </a:r>
          </a:p>
          <a:p>
            <a:pPr marL="342900" indent="-342900">
              <a:buFont typeface="+mj-lt"/>
              <a:buAutoNum type="arabicPeriod"/>
            </a:pPr>
            <a:r>
              <a:rPr lang="en-GB" sz="1800"/>
              <a:t>Federal Trade Commission (FTC) and Federal Communications Commission (FCC): AI affects consumers and network infrastructure</a:t>
            </a:r>
          </a:p>
          <a:p>
            <a:pPr marL="342900" indent="-342900">
              <a:buFont typeface="+mj-lt"/>
              <a:buAutoNum type="arabicPeriod"/>
            </a:pPr>
            <a:r>
              <a:rPr lang="en-GB" sz="1800"/>
              <a:t>Intellectual property: patents and copyright implications of AI</a:t>
            </a:r>
          </a:p>
          <a:p>
            <a:pPr marL="342900" indent="-342900">
              <a:buFont typeface="+mj-lt"/>
              <a:buAutoNum type="arabicPeriod"/>
            </a:pPr>
            <a:r>
              <a:rPr lang="en-GB" sz="1800"/>
              <a:t>Health: protection against harms to patients</a:t>
            </a:r>
          </a:p>
          <a:p>
            <a:pPr marL="342900" indent="-342900">
              <a:buFont typeface="+mj-lt"/>
              <a:buAutoNum type="arabicPeriod"/>
            </a:pPr>
            <a:r>
              <a:rPr lang="en-GB" sz="1800"/>
              <a:t>Chemical, biological, radiological, and nuclear (CBRN) threats: AI plus other tech particularly with regard to biological weapons.</a:t>
            </a:r>
          </a:p>
          <a:p>
            <a:pPr marL="342900" indent="-342900">
              <a:buFont typeface="+mj-lt"/>
              <a:buAutoNum type="arabicPeriod"/>
            </a:pPr>
            <a:r>
              <a:rPr lang="en-GB" sz="1800"/>
              <a:t>Competitive practices and innovation</a:t>
            </a:r>
          </a:p>
          <a:p>
            <a:pPr marL="342900" indent="-342900">
              <a:buFont typeface="+mj-lt"/>
              <a:buAutoNum type="arabicPeriod"/>
            </a:pPr>
            <a:r>
              <a:rPr lang="en-GB" sz="1800"/>
              <a:t>Immigration: easier access to US for skilled workers</a:t>
            </a:r>
          </a:p>
          <a:p>
            <a:pPr marL="342900" indent="-342900">
              <a:buFont typeface="+mj-lt"/>
              <a:buAutoNum type="arabicPeriod"/>
            </a:pPr>
            <a:r>
              <a:rPr lang="en-GB" sz="1800"/>
              <a:t>Education: Development of an AI Toolkit</a:t>
            </a:r>
          </a:p>
          <a:p>
            <a:pPr marL="342900" indent="-342900">
              <a:buFont typeface="+mj-lt"/>
              <a:buAutoNum type="arabicPeriod"/>
            </a:pPr>
            <a:r>
              <a:rPr lang="en-GB" sz="1800"/>
              <a:t>Housing: Prevention of bias and discrimination in access to housing</a:t>
            </a:r>
          </a:p>
          <a:p>
            <a:pPr marL="342900" indent="-342900">
              <a:buFont typeface="+mj-lt"/>
              <a:buAutoNum type="arabicPeriod"/>
            </a:pPr>
            <a:r>
              <a:rPr lang="en-GB" sz="1800" err="1"/>
              <a:t>Labor</a:t>
            </a:r>
            <a:r>
              <a:rPr lang="en-GB" sz="1800"/>
              <a:t>: a worker-centric approach.</a:t>
            </a:r>
          </a:p>
        </p:txBody>
      </p:sp>
      <p:sp>
        <p:nvSpPr>
          <p:cNvPr id="9" name="Text Placeholder 8">
            <a:extLst>
              <a:ext uri="{FF2B5EF4-FFF2-40B4-BE49-F238E27FC236}">
                <a16:creationId xmlns:a16="http://schemas.microsoft.com/office/drawing/2014/main" id="{6C99EC4A-3C62-947D-77ED-28264724FA41}"/>
              </a:ext>
            </a:extLst>
          </p:cNvPr>
          <p:cNvSpPr>
            <a:spLocks noGrp="1"/>
          </p:cNvSpPr>
          <p:nvPr>
            <p:ph type="body" idx="1"/>
          </p:nvPr>
        </p:nvSpPr>
        <p:spPr/>
        <p:txBody>
          <a:bodyPr/>
          <a:lstStyle/>
          <a:p>
            <a:r>
              <a:rPr lang="en-GB"/>
              <a:t>30</a:t>
            </a:r>
            <a:r>
              <a:rPr lang="en-GB" baseline="30000"/>
              <a:t>th</a:t>
            </a:r>
            <a:r>
              <a:rPr lang="en-GB"/>
              <a:t> October 2023</a:t>
            </a:r>
          </a:p>
        </p:txBody>
      </p:sp>
      <p:sp>
        <p:nvSpPr>
          <p:cNvPr id="3" name="Slide Number Placeholder 2">
            <a:extLst>
              <a:ext uri="{FF2B5EF4-FFF2-40B4-BE49-F238E27FC236}">
                <a16:creationId xmlns:a16="http://schemas.microsoft.com/office/drawing/2014/main" id="{241C0738-B469-BA4B-84FF-2AE99361F887}"/>
              </a:ext>
            </a:extLst>
          </p:cNvPr>
          <p:cNvSpPr>
            <a:spLocks noGrp="1"/>
          </p:cNvSpPr>
          <p:nvPr>
            <p:ph type="sldNum" sz="quarter" idx="12"/>
          </p:nvPr>
        </p:nvSpPr>
        <p:spPr/>
        <p:txBody>
          <a:bodyPr/>
          <a:lstStyle/>
          <a:p>
            <a:fld id="{F9591D4C-BB8F-AE46-BE73-C616F30BBC5B}" type="slidenum">
              <a:rPr lang="en-US" smtClean="0"/>
              <a:pPr/>
              <a:t>9</a:t>
            </a:fld>
            <a:endParaRPr lang="en-US"/>
          </a:p>
        </p:txBody>
      </p:sp>
      <p:sp>
        <p:nvSpPr>
          <p:cNvPr id="8" name="Title 7">
            <a:extLst>
              <a:ext uri="{FF2B5EF4-FFF2-40B4-BE49-F238E27FC236}">
                <a16:creationId xmlns:a16="http://schemas.microsoft.com/office/drawing/2014/main" id="{EB1A44E9-80EA-FA0F-05A4-F4B4526E96D6}"/>
              </a:ext>
            </a:extLst>
          </p:cNvPr>
          <p:cNvSpPr>
            <a:spLocks noGrp="1"/>
          </p:cNvSpPr>
          <p:nvPr>
            <p:ph type="title"/>
          </p:nvPr>
        </p:nvSpPr>
        <p:spPr/>
        <p:txBody>
          <a:bodyPr/>
          <a:lstStyle/>
          <a:p>
            <a:r>
              <a:rPr lang="en-GB"/>
              <a:t>US Executive Order</a:t>
            </a:r>
          </a:p>
        </p:txBody>
      </p:sp>
      <p:pic>
        <p:nvPicPr>
          <p:cNvPr id="2" name="Picture 2">
            <a:extLst>
              <a:ext uri="{FF2B5EF4-FFF2-40B4-BE49-F238E27FC236}">
                <a16:creationId xmlns:a16="http://schemas.microsoft.com/office/drawing/2014/main" id="{8DB89A1A-C554-7287-F5AD-82C475E9BE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0929058" y="324949"/>
            <a:ext cx="1262942" cy="663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51980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LA Piper Master">
  <a:themeElements>
    <a:clrScheme name="DLA Piper">
      <a:dk1>
        <a:srgbClr val="182440"/>
      </a:dk1>
      <a:lt1>
        <a:srgbClr val="FFFFFF"/>
      </a:lt1>
      <a:dk2>
        <a:srgbClr val="7B7B7B"/>
      </a:dk2>
      <a:lt2>
        <a:srgbClr val="DEDEDE"/>
      </a:lt2>
      <a:accent1>
        <a:srgbClr val="E52A4F"/>
      </a:accent1>
      <a:accent2>
        <a:srgbClr val="FBBD04"/>
      </a:accent2>
      <a:accent3>
        <a:srgbClr val="D9DA41"/>
      </a:accent3>
      <a:accent4>
        <a:srgbClr val="182440"/>
      </a:accent4>
      <a:accent5>
        <a:srgbClr val="FFFFFF"/>
      </a:accent5>
      <a:accent6>
        <a:srgbClr val="0073CF"/>
      </a:accent6>
      <a:hlink>
        <a:srgbClr val="0073CF"/>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potx" id="{EF95A98A-71FF-414F-B49F-19F5948BA5F1}" vid="{BD709709-C760-4777-BBFA-97122C06B70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2</TotalTime>
  <Words>1887</Words>
  <Application>Microsoft Office PowerPoint</Application>
  <PresentationFormat>Widescreen</PresentationFormat>
  <Paragraphs>285</Paragraphs>
  <Slides>21</Slides>
  <Notes>1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Arial</vt:lpstr>
      <vt:lpstr>Calibri</vt:lpstr>
      <vt:lpstr>Cambria</vt:lpstr>
      <vt:lpstr>DLA Piper Master</vt:lpstr>
      <vt:lpstr>think-cell Slide</vt:lpstr>
      <vt:lpstr>Regulating in an Uncertain Future-AI and Beyond </vt:lpstr>
      <vt:lpstr>Evolving AI Regulatory  Landscape</vt:lpstr>
      <vt:lpstr>Different approaches to regulation</vt:lpstr>
      <vt:lpstr>Regulating AI in the  UK</vt:lpstr>
      <vt:lpstr>PowerPoint Presentation</vt:lpstr>
      <vt:lpstr>PowerPoint Presentation</vt:lpstr>
      <vt:lpstr>Regulating AI in the  US</vt:lpstr>
      <vt:lpstr>A New US AI Regulatory Landscape…</vt:lpstr>
      <vt:lpstr>US Executive Order</vt:lpstr>
      <vt:lpstr>Regulating AI in the  EU</vt:lpstr>
      <vt:lpstr>Regulating AI: EU Definition</vt:lpstr>
      <vt:lpstr>EU AI Act - an update</vt:lpstr>
      <vt:lpstr>Timeline – staggered implementation</vt:lpstr>
      <vt:lpstr>EU AI Act</vt:lpstr>
      <vt:lpstr>General Principles</vt:lpstr>
      <vt:lpstr>EU AI Act</vt:lpstr>
      <vt:lpstr>Prohibited AI Practices </vt:lpstr>
      <vt:lpstr>High Risk AI</vt:lpstr>
      <vt:lpstr>Most GPAI models will only need to comply with documentation requirements</vt:lpstr>
      <vt:lpstr>Requirements for High Risk AI Systems</vt:lpstr>
      <vt:lpstr>AI Common Ground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etition Law &amp; Data AI Panel </dc:title>
  <dc:creator>DLA Piper</dc:creator>
  <cp:lastModifiedBy>DLA Piper</cp:lastModifiedBy>
  <cp:revision>112</cp:revision>
  <cp:lastPrinted>2018-11-14T15:28:25Z</cp:lastPrinted>
  <dcterms:created xsi:type="dcterms:W3CDTF">2024-04-17T15:22:44Z</dcterms:created>
  <dcterms:modified xsi:type="dcterms:W3CDTF">2024-04-17T21:23:53Z</dcterms:modified>
</cp:coreProperties>
</file>